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4"/>
  </p:notesMasterIdLst>
  <p:sldIdLst>
    <p:sldId id="284" r:id="rId6"/>
    <p:sldId id="4223" r:id="rId7"/>
    <p:sldId id="4222" r:id="rId8"/>
    <p:sldId id="4155" r:id="rId9"/>
    <p:sldId id="390" r:id="rId10"/>
    <p:sldId id="392" r:id="rId11"/>
    <p:sldId id="4224" r:id="rId12"/>
    <p:sldId id="4226" r:id="rId13"/>
    <p:sldId id="15205" r:id="rId14"/>
    <p:sldId id="4169" r:id="rId15"/>
    <p:sldId id="4170" r:id="rId16"/>
    <p:sldId id="4171" r:id="rId17"/>
    <p:sldId id="4172" r:id="rId18"/>
    <p:sldId id="4225" r:id="rId19"/>
    <p:sldId id="4174" r:id="rId20"/>
    <p:sldId id="4173" r:id="rId21"/>
    <p:sldId id="4176" r:id="rId22"/>
    <p:sldId id="4175" r:id="rId23"/>
    <p:sldId id="4177" r:id="rId24"/>
    <p:sldId id="4180" r:id="rId25"/>
    <p:sldId id="4178" r:id="rId26"/>
    <p:sldId id="759" r:id="rId27"/>
    <p:sldId id="751" r:id="rId28"/>
    <p:sldId id="765" r:id="rId29"/>
    <p:sldId id="762" r:id="rId30"/>
    <p:sldId id="750" r:id="rId31"/>
    <p:sldId id="764" r:id="rId32"/>
    <p:sldId id="710" r:id="rId3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egel, Joseph" initials="SJ" lastIdx="1" clrIdx="0">
    <p:extLst>
      <p:ext uri="{19B8F6BF-5375-455C-9EA6-DF929625EA0E}">
        <p15:presenceInfo xmlns:p15="http://schemas.microsoft.com/office/powerpoint/2012/main" userId="S::Siegel.Joseph@epa.gov::b4012471-7d26-42e4-bc7d-c60ce6388c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6AC9B1-E8A8-4E69-999E-EE3B988D1731}" v="1" dt="2023-05-18T12:32:14.4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069" autoAdjust="0"/>
    <p:restoredTop sz="83676" autoAdjust="0"/>
  </p:normalViewPr>
  <p:slideViewPr>
    <p:cSldViewPr snapToGrid="0">
      <p:cViewPr>
        <p:scale>
          <a:sx n="70" d="100"/>
          <a:sy n="70" d="100"/>
        </p:scale>
        <p:origin x="188" y="-1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952015355086371E-2"/>
          <c:y val="2.0529016975917885E-2"/>
          <c:w val="0.8637236084452975"/>
          <c:h val="0.95894196604816428"/>
        </c:manualLayout>
      </c:layout>
      <c:barChart>
        <c:barDir val="bar"/>
        <c:grouping val="stacked"/>
        <c:varyColors val="0"/>
        <c:ser>
          <c:idx val="0"/>
          <c:order val="0"/>
          <c:spPr>
            <a:solidFill>
              <a:schemeClr val="accent3"/>
            </a:solidFill>
            <a:ln>
              <a:noFill/>
            </a:ln>
          </c:spPr>
          <c:invertIfNegative val="0"/>
          <c:dLbls>
            <c:dLbl>
              <c:idx val="0"/>
              <c:layout>
                <c:manualLayout>
                  <c:x val="0.48800383877159309"/>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76E-4888-B4DA-AFEBFA6BC02E}"/>
                </c:ext>
              </c:extLst>
            </c:dLbl>
            <c:dLbl>
              <c:idx val="1"/>
              <c:layout>
                <c:manualLayout>
                  <c:x val="0.13195777351247601"/>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6E-4888-B4DA-AFEBFA6BC02E}"/>
                </c:ext>
              </c:extLst>
            </c:dLbl>
            <c:dLbl>
              <c:idx val="2"/>
              <c:layout>
                <c:manualLayout>
                  <c:x val="0.11708253358925144"/>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76E-4888-B4DA-AFEBFA6BC02E}"/>
                </c:ext>
              </c:extLst>
            </c:dLbl>
            <c:dLbl>
              <c:idx val="3"/>
              <c:layout>
                <c:manualLayout>
                  <c:x val="9.9328214971209208E-2"/>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6E-4888-B4DA-AFEBFA6BC02E}"/>
                </c:ext>
              </c:extLst>
            </c:dLbl>
            <c:dLbl>
              <c:idx val="4"/>
              <c:layout>
                <c:manualLayout>
                  <c:x val="8.1573896353166989E-2"/>
                  <c:y val="1.1843663639952626E-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76E-4888-B4DA-AFEBFA6BC0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70.7</c:v>
                </c:pt>
                <c:pt idx="1">
                  <c:v>55.99</c:v>
                </c:pt>
                <c:pt idx="2">
                  <c:v>46.683999999999997</c:v>
                </c:pt>
                <c:pt idx="3">
                  <c:v>35.292000000000002</c:v>
                </c:pt>
                <c:pt idx="4">
                  <c:v>24.35</c:v>
                </c:pt>
              </c:numCache>
            </c:numRef>
          </c:val>
          <c:extLst>
            <c:ext xmlns:c16="http://schemas.microsoft.com/office/drawing/2014/chart" uri="{C3380CC4-5D6E-409C-BE32-E72D297353CC}">
              <c16:uniqueId val="{00000005-376E-4888-B4DA-AFEBFA6BC02E}"/>
            </c:ext>
          </c:extLst>
        </c:ser>
        <c:dLbls>
          <c:showLegendKey val="0"/>
          <c:showVal val="0"/>
          <c:showCatName val="0"/>
          <c:showSerName val="0"/>
          <c:showPercent val="0"/>
          <c:showBubbleSize val="0"/>
        </c:dLbls>
        <c:gapWidth val="80"/>
        <c:overlap val="100"/>
        <c:axId val="1872130368"/>
        <c:axId val="1"/>
      </c:barChart>
      <c:catAx>
        <c:axId val="187213036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70.7"/>
          <c:min val="0"/>
        </c:scaling>
        <c:delete val="1"/>
        <c:axPos val="t"/>
        <c:numFmt formatCode="General" sourceLinked="1"/>
        <c:majorTickMark val="out"/>
        <c:minorTickMark val="none"/>
        <c:tickLblPos val="nextTo"/>
        <c:crossAx val="1872130368"/>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27EE72-00AE-43E6-92EF-2155715643BA}" type="doc">
      <dgm:prSet loTypeId="urn:microsoft.com/office/officeart/2005/8/layout/orgChart1" loCatId="hierarchy" qsTypeId="urn:microsoft.com/office/officeart/2005/8/quickstyle/simple1" qsCatId="simple" csTypeId="urn:microsoft.com/office/officeart/2005/8/colors/colorful1" csCatId="colorful"/>
      <dgm:spPr/>
      <dgm:t>
        <a:bodyPr/>
        <a:lstStyle/>
        <a:p>
          <a:endParaRPr lang="en-US"/>
        </a:p>
      </dgm:t>
    </dgm:pt>
    <dgm:pt modelId="{94649278-C54E-4FCB-9D98-AC5793ED3FA1}">
      <dgm:prSet/>
      <dgm:spPr/>
      <dgm:t>
        <a:bodyPr/>
        <a:lstStyle/>
        <a:p>
          <a:r>
            <a:rPr lang="en-US"/>
            <a:t>National Clean Investment Fund Competition: $14 Billion</a:t>
          </a:r>
        </a:p>
      </dgm:t>
    </dgm:pt>
    <dgm:pt modelId="{9556F2E8-5611-4995-BB09-7D0F3A68F616}" type="parTrans" cxnId="{ECF17CA4-7AD8-47FC-A7F7-C431B5ED5D33}">
      <dgm:prSet/>
      <dgm:spPr/>
      <dgm:t>
        <a:bodyPr/>
        <a:lstStyle/>
        <a:p>
          <a:endParaRPr lang="en-US"/>
        </a:p>
      </dgm:t>
    </dgm:pt>
    <dgm:pt modelId="{8C5B8896-5D92-4297-8104-3FAC5D89643E}" type="sibTrans" cxnId="{ECF17CA4-7AD8-47FC-A7F7-C431B5ED5D33}">
      <dgm:prSet/>
      <dgm:spPr/>
      <dgm:t>
        <a:bodyPr/>
        <a:lstStyle/>
        <a:p>
          <a:endParaRPr lang="en-US"/>
        </a:p>
      </dgm:t>
    </dgm:pt>
    <dgm:pt modelId="{81FF9C9A-6692-4EDE-BCC9-C2E8D5E491F6}">
      <dgm:prSet/>
      <dgm:spPr/>
      <dgm:t>
        <a:bodyPr/>
        <a:lstStyle/>
        <a:p>
          <a:r>
            <a:rPr lang="en-US" dirty="0"/>
            <a:t>Fund 2-3 National Nonprofits to partner with private capital providers to deliver financing</a:t>
          </a:r>
        </a:p>
      </dgm:t>
    </dgm:pt>
    <dgm:pt modelId="{BCE24DFD-9791-476F-9A56-C3E3FE170839}" type="parTrans" cxnId="{426F2118-D01E-469D-8E4D-C7141B7818F6}">
      <dgm:prSet/>
      <dgm:spPr/>
      <dgm:t>
        <a:bodyPr/>
        <a:lstStyle/>
        <a:p>
          <a:endParaRPr lang="en-US"/>
        </a:p>
      </dgm:t>
    </dgm:pt>
    <dgm:pt modelId="{7D3ADD32-6017-4CEF-A680-2B7347EA4E46}" type="sibTrans" cxnId="{426F2118-D01E-469D-8E4D-C7141B7818F6}">
      <dgm:prSet/>
      <dgm:spPr/>
      <dgm:t>
        <a:bodyPr/>
        <a:lstStyle/>
        <a:p>
          <a:endParaRPr lang="en-US"/>
        </a:p>
      </dgm:t>
    </dgm:pt>
    <dgm:pt modelId="{06A8FD07-5798-46C2-9D09-EE3D1B01AAB9}">
      <dgm:prSet/>
      <dgm:spPr/>
      <dgm:t>
        <a:bodyPr/>
        <a:lstStyle/>
        <a:p>
          <a:r>
            <a:rPr lang="en-US"/>
            <a:t>Clean Communities Investment Accelerator Competition: $6 Billion</a:t>
          </a:r>
        </a:p>
      </dgm:t>
    </dgm:pt>
    <dgm:pt modelId="{6D1E7EA4-65AE-4D11-9E42-71F9313ACA39}" type="parTrans" cxnId="{89050862-83FC-4079-BBDD-2DFA53032EBA}">
      <dgm:prSet/>
      <dgm:spPr/>
      <dgm:t>
        <a:bodyPr/>
        <a:lstStyle/>
        <a:p>
          <a:endParaRPr lang="en-US"/>
        </a:p>
      </dgm:t>
    </dgm:pt>
    <dgm:pt modelId="{1ED28CF1-A03B-4DC4-82FB-8B0ACCC0DFD3}" type="sibTrans" cxnId="{89050862-83FC-4079-BBDD-2DFA53032EBA}">
      <dgm:prSet/>
      <dgm:spPr/>
      <dgm:t>
        <a:bodyPr/>
        <a:lstStyle/>
        <a:p>
          <a:endParaRPr lang="en-US"/>
        </a:p>
      </dgm:t>
    </dgm:pt>
    <dgm:pt modelId="{DAB137E5-64C8-48D0-89AD-E5FF2D9581AF}">
      <dgm:prSet/>
      <dgm:spPr/>
      <dgm:t>
        <a:bodyPr/>
        <a:lstStyle/>
        <a:p>
          <a:r>
            <a:rPr lang="en-US"/>
            <a:t>Fund 2-7 hub nonprofits to rapidly build clean financing capacity</a:t>
          </a:r>
        </a:p>
      </dgm:t>
    </dgm:pt>
    <dgm:pt modelId="{DDC1E4D1-DA21-4A25-804E-A7E8DB1A8E3E}" type="parTrans" cxnId="{660B6751-3744-4D28-B1AF-F47EAD9E1984}">
      <dgm:prSet/>
      <dgm:spPr/>
      <dgm:t>
        <a:bodyPr/>
        <a:lstStyle/>
        <a:p>
          <a:endParaRPr lang="en-US"/>
        </a:p>
      </dgm:t>
    </dgm:pt>
    <dgm:pt modelId="{606B6D28-104A-4F32-9D37-11E0D092A188}" type="sibTrans" cxnId="{660B6751-3744-4D28-B1AF-F47EAD9E1984}">
      <dgm:prSet/>
      <dgm:spPr/>
      <dgm:t>
        <a:bodyPr/>
        <a:lstStyle/>
        <a:p>
          <a:endParaRPr lang="en-US"/>
        </a:p>
      </dgm:t>
    </dgm:pt>
    <dgm:pt modelId="{3CD1D887-FF54-428E-94F9-9E5BA78EF2D2}">
      <dgm:prSet/>
      <dgm:spPr/>
      <dgm:t>
        <a:bodyPr/>
        <a:lstStyle/>
        <a:p>
          <a:r>
            <a:rPr lang="en-US"/>
            <a:t>Solar for All Competition: $7 Billion</a:t>
          </a:r>
        </a:p>
      </dgm:t>
    </dgm:pt>
    <dgm:pt modelId="{E52D940F-8001-48AB-A8B2-587F02744EA4}" type="parTrans" cxnId="{FF89F1E6-A01A-493D-8BEB-9FF7ADEEEB95}">
      <dgm:prSet/>
      <dgm:spPr/>
      <dgm:t>
        <a:bodyPr/>
        <a:lstStyle/>
        <a:p>
          <a:endParaRPr lang="en-US"/>
        </a:p>
      </dgm:t>
    </dgm:pt>
    <dgm:pt modelId="{F60ED33B-D548-4DAE-92E3-A869C7376E03}" type="sibTrans" cxnId="{FF89F1E6-A01A-493D-8BEB-9FF7ADEEEB95}">
      <dgm:prSet/>
      <dgm:spPr/>
      <dgm:t>
        <a:bodyPr/>
        <a:lstStyle/>
        <a:p>
          <a:endParaRPr lang="en-US"/>
        </a:p>
      </dgm:t>
    </dgm:pt>
    <dgm:pt modelId="{C0E660E7-A36F-4EDD-8F27-8E80F5F3E3DE}">
      <dgm:prSet/>
      <dgm:spPr/>
      <dgm:t>
        <a:bodyPr/>
        <a:lstStyle/>
        <a:p>
          <a:r>
            <a:rPr lang="en-US"/>
            <a:t>Up to 60 grants to state, Tribal governments, municipalities and nonprofits to expand low-income and disadvantaged community solar</a:t>
          </a:r>
        </a:p>
      </dgm:t>
    </dgm:pt>
    <dgm:pt modelId="{CE7F20B8-0AAB-4E2D-BE62-5CD8E54DA327}" type="parTrans" cxnId="{BB6E9956-6317-4DA0-9A81-51E21D7C6C50}">
      <dgm:prSet/>
      <dgm:spPr/>
      <dgm:t>
        <a:bodyPr/>
        <a:lstStyle/>
        <a:p>
          <a:endParaRPr lang="en-US"/>
        </a:p>
      </dgm:t>
    </dgm:pt>
    <dgm:pt modelId="{3062739A-EFD1-4014-A256-61B93E3A8947}" type="sibTrans" cxnId="{BB6E9956-6317-4DA0-9A81-51E21D7C6C50}">
      <dgm:prSet/>
      <dgm:spPr/>
      <dgm:t>
        <a:bodyPr/>
        <a:lstStyle/>
        <a:p>
          <a:endParaRPr lang="en-US"/>
        </a:p>
      </dgm:t>
    </dgm:pt>
    <dgm:pt modelId="{AF6F73C6-CA1F-4797-9D50-C55644A232B9}" type="pres">
      <dgm:prSet presAssocID="{E327EE72-00AE-43E6-92EF-2155715643BA}" presName="hierChild1" presStyleCnt="0">
        <dgm:presLayoutVars>
          <dgm:orgChart val="1"/>
          <dgm:chPref val="1"/>
          <dgm:dir/>
          <dgm:animOne val="branch"/>
          <dgm:animLvl val="lvl"/>
          <dgm:resizeHandles/>
        </dgm:presLayoutVars>
      </dgm:prSet>
      <dgm:spPr/>
    </dgm:pt>
    <dgm:pt modelId="{F58D3848-3A21-430C-B93C-249A6788B309}" type="pres">
      <dgm:prSet presAssocID="{94649278-C54E-4FCB-9D98-AC5793ED3FA1}" presName="hierRoot1" presStyleCnt="0">
        <dgm:presLayoutVars>
          <dgm:hierBranch val="init"/>
        </dgm:presLayoutVars>
      </dgm:prSet>
      <dgm:spPr/>
    </dgm:pt>
    <dgm:pt modelId="{98CA0EE9-341B-4AFA-9034-94F24C657B1C}" type="pres">
      <dgm:prSet presAssocID="{94649278-C54E-4FCB-9D98-AC5793ED3FA1}" presName="rootComposite1" presStyleCnt="0"/>
      <dgm:spPr/>
    </dgm:pt>
    <dgm:pt modelId="{787F9A3B-80F8-4773-BF3E-4AB58629C932}" type="pres">
      <dgm:prSet presAssocID="{94649278-C54E-4FCB-9D98-AC5793ED3FA1}" presName="rootText1" presStyleLbl="node0" presStyleIdx="0" presStyleCnt="3">
        <dgm:presLayoutVars>
          <dgm:chPref val="3"/>
        </dgm:presLayoutVars>
      </dgm:prSet>
      <dgm:spPr/>
    </dgm:pt>
    <dgm:pt modelId="{74F1EB35-91A1-4735-BF4E-38CE202C6D72}" type="pres">
      <dgm:prSet presAssocID="{94649278-C54E-4FCB-9D98-AC5793ED3FA1}" presName="rootConnector1" presStyleLbl="node1" presStyleIdx="0" presStyleCnt="0"/>
      <dgm:spPr/>
    </dgm:pt>
    <dgm:pt modelId="{493859D9-2D0A-4D23-B492-2EF2FF279277}" type="pres">
      <dgm:prSet presAssocID="{94649278-C54E-4FCB-9D98-AC5793ED3FA1}" presName="hierChild2" presStyleCnt="0"/>
      <dgm:spPr/>
    </dgm:pt>
    <dgm:pt modelId="{2026394F-085B-4AE2-B146-5D8E1EAA3AF1}" type="pres">
      <dgm:prSet presAssocID="{BCE24DFD-9791-476F-9A56-C3E3FE170839}" presName="Name37" presStyleLbl="parChTrans1D2" presStyleIdx="0" presStyleCnt="3"/>
      <dgm:spPr/>
    </dgm:pt>
    <dgm:pt modelId="{E9EA45DC-F8DC-4184-941C-6EF348D1FD07}" type="pres">
      <dgm:prSet presAssocID="{81FF9C9A-6692-4EDE-BCC9-C2E8D5E491F6}" presName="hierRoot2" presStyleCnt="0">
        <dgm:presLayoutVars>
          <dgm:hierBranch val="init"/>
        </dgm:presLayoutVars>
      </dgm:prSet>
      <dgm:spPr/>
    </dgm:pt>
    <dgm:pt modelId="{761B0C55-FB3A-42F9-B67C-1C816EF2CE57}" type="pres">
      <dgm:prSet presAssocID="{81FF9C9A-6692-4EDE-BCC9-C2E8D5E491F6}" presName="rootComposite" presStyleCnt="0"/>
      <dgm:spPr/>
    </dgm:pt>
    <dgm:pt modelId="{AF35D086-E8D7-44FE-95C7-9384DCA62549}" type="pres">
      <dgm:prSet presAssocID="{81FF9C9A-6692-4EDE-BCC9-C2E8D5E491F6}" presName="rootText" presStyleLbl="node2" presStyleIdx="0" presStyleCnt="3">
        <dgm:presLayoutVars>
          <dgm:chPref val="3"/>
        </dgm:presLayoutVars>
      </dgm:prSet>
      <dgm:spPr/>
    </dgm:pt>
    <dgm:pt modelId="{E1835117-C233-4538-AE41-51AD105C790F}" type="pres">
      <dgm:prSet presAssocID="{81FF9C9A-6692-4EDE-BCC9-C2E8D5E491F6}" presName="rootConnector" presStyleLbl="node2" presStyleIdx="0" presStyleCnt="3"/>
      <dgm:spPr/>
    </dgm:pt>
    <dgm:pt modelId="{805653FD-CA4B-44EF-A798-DD1DAAE79872}" type="pres">
      <dgm:prSet presAssocID="{81FF9C9A-6692-4EDE-BCC9-C2E8D5E491F6}" presName="hierChild4" presStyleCnt="0"/>
      <dgm:spPr/>
    </dgm:pt>
    <dgm:pt modelId="{86FFFD66-7F94-433F-ACEF-69B409E2AF06}" type="pres">
      <dgm:prSet presAssocID="{81FF9C9A-6692-4EDE-BCC9-C2E8D5E491F6}" presName="hierChild5" presStyleCnt="0"/>
      <dgm:spPr/>
    </dgm:pt>
    <dgm:pt modelId="{B965ABBD-0A84-4181-8E29-6BD1D529E2A7}" type="pres">
      <dgm:prSet presAssocID="{94649278-C54E-4FCB-9D98-AC5793ED3FA1}" presName="hierChild3" presStyleCnt="0"/>
      <dgm:spPr/>
    </dgm:pt>
    <dgm:pt modelId="{108296D7-F791-486E-A953-A57C93EE971D}" type="pres">
      <dgm:prSet presAssocID="{06A8FD07-5798-46C2-9D09-EE3D1B01AAB9}" presName="hierRoot1" presStyleCnt="0">
        <dgm:presLayoutVars>
          <dgm:hierBranch val="init"/>
        </dgm:presLayoutVars>
      </dgm:prSet>
      <dgm:spPr/>
    </dgm:pt>
    <dgm:pt modelId="{DB02ECF5-1071-4CEC-82F0-DC78CC5E20A3}" type="pres">
      <dgm:prSet presAssocID="{06A8FD07-5798-46C2-9D09-EE3D1B01AAB9}" presName="rootComposite1" presStyleCnt="0"/>
      <dgm:spPr/>
    </dgm:pt>
    <dgm:pt modelId="{8D152A23-EB61-4D0C-9983-E9A019171B4D}" type="pres">
      <dgm:prSet presAssocID="{06A8FD07-5798-46C2-9D09-EE3D1B01AAB9}" presName="rootText1" presStyleLbl="node0" presStyleIdx="1" presStyleCnt="3">
        <dgm:presLayoutVars>
          <dgm:chPref val="3"/>
        </dgm:presLayoutVars>
      </dgm:prSet>
      <dgm:spPr/>
    </dgm:pt>
    <dgm:pt modelId="{DDA97859-53B7-4572-8F15-66C79D0ADE5B}" type="pres">
      <dgm:prSet presAssocID="{06A8FD07-5798-46C2-9D09-EE3D1B01AAB9}" presName="rootConnector1" presStyleLbl="node1" presStyleIdx="0" presStyleCnt="0"/>
      <dgm:spPr/>
    </dgm:pt>
    <dgm:pt modelId="{6D61BDA5-BA1A-4713-A8D7-6D1B227436C1}" type="pres">
      <dgm:prSet presAssocID="{06A8FD07-5798-46C2-9D09-EE3D1B01AAB9}" presName="hierChild2" presStyleCnt="0"/>
      <dgm:spPr/>
    </dgm:pt>
    <dgm:pt modelId="{EC984FA7-552D-4098-887D-7CF04D5B26C5}" type="pres">
      <dgm:prSet presAssocID="{DDC1E4D1-DA21-4A25-804E-A7E8DB1A8E3E}" presName="Name37" presStyleLbl="parChTrans1D2" presStyleIdx="1" presStyleCnt="3"/>
      <dgm:spPr/>
    </dgm:pt>
    <dgm:pt modelId="{79535343-C9E7-4890-B284-901955A5BF28}" type="pres">
      <dgm:prSet presAssocID="{DAB137E5-64C8-48D0-89AD-E5FF2D9581AF}" presName="hierRoot2" presStyleCnt="0">
        <dgm:presLayoutVars>
          <dgm:hierBranch val="init"/>
        </dgm:presLayoutVars>
      </dgm:prSet>
      <dgm:spPr/>
    </dgm:pt>
    <dgm:pt modelId="{E47F2365-A98D-4F25-8A92-A5901045FEE8}" type="pres">
      <dgm:prSet presAssocID="{DAB137E5-64C8-48D0-89AD-E5FF2D9581AF}" presName="rootComposite" presStyleCnt="0"/>
      <dgm:spPr/>
    </dgm:pt>
    <dgm:pt modelId="{BB8791A0-D9C9-48EE-97C3-66BDB8C62336}" type="pres">
      <dgm:prSet presAssocID="{DAB137E5-64C8-48D0-89AD-E5FF2D9581AF}" presName="rootText" presStyleLbl="node2" presStyleIdx="1" presStyleCnt="3">
        <dgm:presLayoutVars>
          <dgm:chPref val="3"/>
        </dgm:presLayoutVars>
      </dgm:prSet>
      <dgm:spPr/>
    </dgm:pt>
    <dgm:pt modelId="{1DD1B593-54BF-4490-A5A0-9D8A230426A2}" type="pres">
      <dgm:prSet presAssocID="{DAB137E5-64C8-48D0-89AD-E5FF2D9581AF}" presName="rootConnector" presStyleLbl="node2" presStyleIdx="1" presStyleCnt="3"/>
      <dgm:spPr/>
    </dgm:pt>
    <dgm:pt modelId="{2E01FD47-7BF7-481C-82BE-685987FB7AE6}" type="pres">
      <dgm:prSet presAssocID="{DAB137E5-64C8-48D0-89AD-E5FF2D9581AF}" presName="hierChild4" presStyleCnt="0"/>
      <dgm:spPr/>
    </dgm:pt>
    <dgm:pt modelId="{67A2493A-C367-4E26-95AF-5768AB0D7E86}" type="pres">
      <dgm:prSet presAssocID="{DAB137E5-64C8-48D0-89AD-E5FF2D9581AF}" presName="hierChild5" presStyleCnt="0"/>
      <dgm:spPr/>
    </dgm:pt>
    <dgm:pt modelId="{64D2CE5C-6E0B-49CB-AD42-A48DE4687C41}" type="pres">
      <dgm:prSet presAssocID="{06A8FD07-5798-46C2-9D09-EE3D1B01AAB9}" presName="hierChild3" presStyleCnt="0"/>
      <dgm:spPr/>
    </dgm:pt>
    <dgm:pt modelId="{A412B439-BABB-48C9-A1F8-F15198CD9C82}" type="pres">
      <dgm:prSet presAssocID="{3CD1D887-FF54-428E-94F9-9E5BA78EF2D2}" presName="hierRoot1" presStyleCnt="0">
        <dgm:presLayoutVars>
          <dgm:hierBranch val="init"/>
        </dgm:presLayoutVars>
      </dgm:prSet>
      <dgm:spPr/>
    </dgm:pt>
    <dgm:pt modelId="{C6FEBAEC-A20E-48AA-8338-632A03AF11B2}" type="pres">
      <dgm:prSet presAssocID="{3CD1D887-FF54-428E-94F9-9E5BA78EF2D2}" presName="rootComposite1" presStyleCnt="0"/>
      <dgm:spPr/>
    </dgm:pt>
    <dgm:pt modelId="{5FBC7614-D5CA-4655-B1FC-760FEDC2F42A}" type="pres">
      <dgm:prSet presAssocID="{3CD1D887-FF54-428E-94F9-9E5BA78EF2D2}" presName="rootText1" presStyleLbl="node0" presStyleIdx="2" presStyleCnt="3">
        <dgm:presLayoutVars>
          <dgm:chPref val="3"/>
        </dgm:presLayoutVars>
      </dgm:prSet>
      <dgm:spPr/>
    </dgm:pt>
    <dgm:pt modelId="{3903DE59-A142-46CE-A259-FDD6F9758BDA}" type="pres">
      <dgm:prSet presAssocID="{3CD1D887-FF54-428E-94F9-9E5BA78EF2D2}" presName="rootConnector1" presStyleLbl="node1" presStyleIdx="0" presStyleCnt="0"/>
      <dgm:spPr/>
    </dgm:pt>
    <dgm:pt modelId="{C5136BD4-774E-43CD-BB9D-5ED3A5310C89}" type="pres">
      <dgm:prSet presAssocID="{3CD1D887-FF54-428E-94F9-9E5BA78EF2D2}" presName="hierChild2" presStyleCnt="0"/>
      <dgm:spPr/>
    </dgm:pt>
    <dgm:pt modelId="{1E4CD3C8-AD66-4D58-84B6-0F48027185E5}" type="pres">
      <dgm:prSet presAssocID="{CE7F20B8-0AAB-4E2D-BE62-5CD8E54DA327}" presName="Name37" presStyleLbl="parChTrans1D2" presStyleIdx="2" presStyleCnt="3"/>
      <dgm:spPr/>
    </dgm:pt>
    <dgm:pt modelId="{5A2604E6-74C2-410E-B4EE-B1A8E59E40C4}" type="pres">
      <dgm:prSet presAssocID="{C0E660E7-A36F-4EDD-8F27-8E80F5F3E3DE}" presName="hierRoot2" presStyleCnt="0">
        <dgm:presLayoutVars>
          <dgm:hierBranch val="init"/>
        </dgm:presLayoutVars>
      </dgm:prSet>
      <dgm:spPr/>
    </dgm:pt>
    <dgm:pt modelId="{142924C7-E34B-4800-867C-3A325BAF5542}" type="pres">
      <dgm:prSet presAssocID="{C0E660E7-A36F-4EDD-8F27-8E80F5F3E3DE}" presName="rootComposite" presStyleCnt="0"/>
      <dgm:spPr/>
    </dgm:pt>
    <dgm:pt modelId="{7A205381-EB73-45D0-8675-3BC9E2CD6425}" type="pres">
      <dgm:prSet presAssocID="{C0E660E7-A36F-4EDD-8F27-8E80F5F3E3DE}" presName="rootText" presStyleLbl="node2" presStyleIdx="2" presStyleCnt="3">
        <dgm:presLayoutVars>
          <dgm:chPref val="3"/>
        </dgm:presLayoutVars>
      </dgm:prSet>
      <dgm:spPr/>
    </dgm:pt>
    <dgm:pt modelId="{9E4C2511-C222-4473-9F4D-0CF17B28B5F6}" type="pres">
      <dgm:prSet presAssocID="{C0E660E7-A36F-4EDD-8F27-8E80F5F3E3DE}" presName="rootConnector" presStyleLbl="node2" presStyleIdx="2" presStyleCnt="3"/>
      <dgm:spPr/>
    </dgm:pt>
    <dgm:pt modelId="{73FC765C-8BB3-4B22-8D7F-2D0CA4D718D0}" type="pres">
      <dgm:prSet presAssocID="{C0E660E7-A36F-4EDD-8F27-8E80F5F3E3DE}" presName="hierChild4" presStyleCnt="0"/>
      <dgm:spPr/>
    </dgm:pt>
    <dgm:pt modelId="{6AB0715B-17A3-45EA-B286-FFF6D06C0E6D}" type="pres">
      <dgm:prSet presAssocID="{C0E660E7-A36F-4EDD-8F27-8E80F5F3E3DE}" presName="hierChild5" presStyleCnt="0"/>
      <dgm:spPr/>
    </dgm:pt>
    <dgm:pt modelId="{2746512D-9754-4E3F-95C7-9FE99A8C448B}" type="pres">
      <dgm:prSet presAssocID="{3CD1D887-FF54-428E-94F9-9E5BA78EF2D2}" presName="hierChild3" presStyleCnt="0"/>
      <dgm:spPr/>
    </dgm:pt>
  </dgm:ptLst>
  <dgm:cxnLst>
    <dgm:cxn modelId="{426F2118-D01E-469D-8E4D-C7141B7818F6}" srcId="{94649278-C54E-4FCB-9D98-AC5793ED3FA1}" destId="{81FF9C9A-6692-4EDE-BCC9-C2E8D5E491F6}" srcOrd="0" destOrd="0" parTransId="{BCE24DFD-9791-476F-9A56-C3E3FE170839}" sibTransId="{7D3ADD32-6017-4CEF-A680-2B7347EA4E46}"/>
    <dgm:cxn modelId="{89050862-83FC-4079-BBDD-2DFA53032EBA}" srcId="{E327EE72-00AE-43E6-92EF-2155715643BA}" destId="{06A8FD07-5798-46C2-9D09-EE3D1B01AAB9}" srcOrd="1" destOrd="0" parTransId="{6D1E7EA4-65AE-4D11-9E42-71F9313ACA39}" sibTransId="{1ED28CF1-A03B-4DC4-82FB-8B0ACCC0DFD3}"/>
    <dgm:cxn modelId="{46BFE84B-DA9A-4D90-BBD7-2E77E43F1D7C}" type="presOf" srcId="{C0E660E7-A36F-4EDD-8F27-8E80F5F3E3DE}" destId="{9E4C2511-C222-4473-9F4D-0CF17B28B5F6}" srcOrd="1" destOrd="0" presId="urn:microsoft.com/office/officeart/2005/8/layout/orgChart1"/>
    <dgm:cxn modelId="{9AB7C36E-4AEC-4255-ACE7-52258C515B4D}" type="presOf" srcId="{DAB137E5-64C8-48D0-89AD-E5FF2D9581AF}" destId="{1DD1B593-54BF-4490-A5A0-9D8A230426A2}" srcOrd="1" destOrd="0" presId="urn:microsoft.com/office/officeart/2005/8/layout/orgChart1"/>
    <dgm:cxn modelId="{FFABD96F-5FCF-4844-85E8-54703B141124}" type="presOf" srcId="{3CD1D887-FF54-428E-94F9-9E5BA78EF2D2}" destId="{3903DE59-A142-46CE-A259-FDD6F9758BDA}" srcOrd="1" destOrd="0" presId="urn:microsoft.com/office/officeart/2005/8/layout/orgChart1"/>
    <dgm:cxn modelId="{660B6751-3744-4D28-B1AF-F47EAD9E1984}" srcId="{06A8FD07-5798-46C2-9D09-EE3D1B01AAB9}" destId="{DAB137E5-64C8-48D0-89AD-E5FF2D9581AF}" srcOrd="0" destOrd="0" parTransId="{DDC1E4D1-DA21-4A25-804E-A7E8DB1A8E3E}" sibTransId="{606B6D28-104A-4F32-9D37-11E0D092A188}"/>
    <dgm:cxn modelId="{4B718772-6185-4D8D-9F5E-FB9239EFB958}" type="presOf" srcId="{BCE24DFD-9791-476F-9A56-C3E3FE170839}" destId="{2026394F-085B-4AE2-B146-5D8E1EAA3AF1}" srcOrd="0" destOrd="0" presId="urn:microsoft.com/office/officeart/2005/8/layout/orgChart1"/>
    <dgm:cxn modelId="{BB6E9956-6317-4DA0-9A81-51E21D7C6C50}" srcId="{3CD1D887-FF54-428E-94F9-9E5BA78EF2D2}" destId="{C0E660E7-A36F-4EDD-8F27-8E80F5F3E3DE}" srcOrd="0" destOrd="0" parTransId="{CE7F20B8-0AAB-4E2D-BE62-5CD8E54DA327}" sibTransId="{3062739A-EFD1-4014-A256-61B93E3A8947}"/>
    <dgm:cxn modelId="{8BA5A68C-E74E-4453-89D0-8201CF10CD3A}" type="presOf" srcId="{3CD1D887-FF54-428E-94F9-9E5BA78EF2D2}" destId="{5FBC7614-D5CA-4655-B1FC-760FEDC2F42A}" srcOrd="0" destOrd="0" presId="urn:microsoft.com/office/officeart/2005/8/layout/orgChart1"/>
    <dgm:cxn modelId="{ECF17CA4-7AD8-47FC-A7F7-C431B5ED5D33}" srcId="{E327EE72-00AE-43E6-92EF-2155715643BA}" destId="{94649278-C54E-4FCB-9D98-AC5793ED3FA1}" srcOrd="0" destOrd="0" parTransId="{9556F2E8-5611-4995-BB09-7D0F3A68F616}" sibTransId="{8C5B8896-5D92-4297-8104-3FAC5D89643E}"/>
    <dgm:cxn modelId="{3FE0AFBA-D9E6-4F45-9E82-29B57ED051AA}" type="presOf" srcId="{81FF9C9A-6692-4EDE-BCC9-C2E8D5E491F6}" destId="{AF35D086-E8D7-44FE-95C7-9384DCA62549}" srcOrd="0" destOrd="0" presId="urn:microsoft.com/office/officeart/2005/8/layout/orgChart1"/>
    <dgm:cxn modelId="{4990DEC0-17F4-4915-8F3B-8A4B228E31C6}" type="presOf" srcId="{DDC1E4D1-DA21-4A25-804E-A7E8DB1A8E3E}" destId="{EC984FA7-552D-4098-887D-7CF04D5B26C5}" srcOrd="0" destOrd="0" presId="urn:microsoft.com/office/officeart/2005/8/layout/orgChart1"/>
    <dgm:cxn modelId="{365F20C2-238D-4266-B093-1715CD1278E3}" type="presOf" srcId="{06A8FD07-5798-46C2-9D09-EE3D1B01AAB9}" destId="{8D152A23-EB61-4D0C-9983-E9A019171B4D}" srcOrd="0" destOrd="0" presId="urn:microsoft.com/office/officeart/2005/8/layout/orgChart1"/>
    <dgm:cxn modelId="{760A3DC6-FF43-48A7-9593-437F4A187310}" type="presOf" srcId="{81FF9C9A-6692-4EDE-BCC9-C2E8D5E491F6}" destId="{E1835117-C233-4538-AE41-51AD105C790F}" srcOrd="1" destOrd="0" presId="urn:microsoft.com/office/officeart/2005/8/layout/orgChart1"/>
    <dgm:cxn modelId="{903FECC9-9CF7-4978-9881-8198302D0B40}" type="presOf" srcId="{E327EE72-00AE-43E6-92EF-2155715643BA}" destId="{AF6F73C6-CA1F-4797-9D50-C55644A232B9}" srcOrd="0" destOrd="0" presId="urn:microsoft.com/office/officeart/2005/8/layout/orgChart1"/>
    <dgm:cxn modelId="{179EDFD1-BD19-4284-B8DE-B77CE6C41076}" type="presOf" srcId="{94649278-C54E-4FCB-9D98-AC5793ED3FA1}" destId="{74F1EB35-91A1-4735-BF4E-38CE202C6D72}" srcOrd="1" destOrd="0" presId="urn:microsoft.com/office/officeart/2005/8/layout/orgChart1"/>
    <dgm:cxn modelId="{F67EFCDD-7680-4928-A8C1-774C7DF09AE0}" type="presOf" srcId="{CE7F20B8-0AAB-4E2D-BE62-5CD8E54DA327}" destId="{1E4CD3C8-AD66-4D58-84B6-0F48027185E5}" srcOrd="0" destOrd="0" presId="urn:microsoft.com/office/officeart/2005/8/layout/orgChart1"/>
    <dgm:cxn modelId="{8964DFDF-4D26-44F5-9869-F83C2BC2283E}" type="presOf" srcId="{C0E660E7-A36F-4EDD-8F27-8E80F5F3E3DE}" destId="{7A205381-EB73-45D0-8675-3BC9E2CD6425}" srcOrd="0" destOrd="0" presId="urn:microsoft.com/office/officeart/2005/8/layout/orgChart1"/>
    <dgm:cxn modelId="{FF89F1E6-A01A-493D-8BEB-9FF7ADEEEB95}" srcId="{E327EE72-00AE-43E6-92EF-2155715643BA}" destId="{3CD1D887-FF54-428E-94F9-9E5BA78EF2D2}" srcOrd="2" destOrd="0" parTransId="{E52D940F-8001-48AB-A8B2-587F02744EA4}" sibTransId="{F60ED33B-D548-4DAE-92E3-A869C7376E03}"/>
    <dgm:cxn modelId="{198205EA-8B88-4E0D-9C04-AD93CBA42365}" type="presOf" srcId="{06A8FD07-5798-46C2-9D09-EE3D1B01AAB9}" destId="{DDA97859-53B7-4572-8F15-66C79D0ADE5B}" srcOrd="1" destOrd="0" presId="urn:microsoft.com/office/officeart/2005/8/layout/orgChart1"/>
    <dgm:cxn modelId="{A2760FEB-6C20-42B1-AB8A-71B2E08039B8}" type="presOf" srcId="{DAB137E5-64C8-48D0-89AD-E5FF2D9581AF}" destId="{BB8791A0-D9C9-48EE-97C3-66BDB8C62336}" srcOrd="0" destOrd="0" presId="urn:microsoft.com/office/officeart/2005/8/layout/orgChart1"/>
    <dgm:cxn modelId="{515A00F5-87F9-44CA-A039-38EAF7F0CFD1}" type="presOf" srcId="{94649278-C54E-4FCB-9D98-AC5793ED3FA1}" destId="{787F9A3B-80F8-4773-BF3E-4AB58629C932}" srcOrd="0" destOrd="0" presId="urn:microsoft.com/office/officeart/2005/8/layout/orgChart1"/>
    <dgm:cxn modelId="{268565A6-216D-4FD0-895E-79FED386AB63}" type="presParOf" srcId="{AF6F73C6-CA1F-4797-9D50-C55644A232B9}" destId="{F58D3848-3A21-430C-B93C-249A6788B309}" srcOrd="0" destOrd="0" presId="urn:microsoft.com/office/officeart/2005/8/layout/orgChart1"/>
    <dgm:cxn modelId="{FE2612C5-6643-47C2-89D8-DA3EF03EB697}" type="presParOf" srcId="{F58D3848-3A21-430C-B93C-249A6788B309}" destId="{98CA0EE9-341B-4AFA-9034-94F24C657B1C}" srcOrd="0" destOrd="0" presId="urn:microsoft.com/office/officeart/2005/8/layout/orgChart1"/>
    <dgm:cxn modelId="{070714A1-538E-47F3-9B69-97ED04FA731A}" type="presParOf" srcId="{98CA0EE9-341B-4AFA-9034-94F24C657B1C}" destId="{787F9A3B-80F8-4773-BF3E-4AB58629C932}" srcOrd="0" destOrd="0" presId="urn:microsoft.com/office/officeart/2005/8/layout/orgChart1"/>
    <dgm:cxn modelId="{151F5FBF-C77B-4731-BF95-ED582C5A854F}" type="presParOf" srcId="{98CA0EE9-341B-4AFA-9034-94F24C657B1C}" destId="{74F1EB35-91A1-4735-BF4E-38CE202C6D72}" srcOrd="1" destOrd="0" presId="urn:microsoft.com/office/officeart/2005/8/layout/orgChart1"/>
    <dgm:cxn modelId="{44440AEF-DD28-403A-AFB6-54205A44C40D}" type="presParOf" srcId="{F58D3848-3A21-430C-B93C-249A6788B309}" destId="{493859D9-2D0A-4D23-B492-2EF2FF279277}" srcOrd="1" destOrd="0" presId="urn:microsoft.com/office/officeart/2005/8/layout/orgChart1"/>
    <dgm:cxn modelId="{5AB792EF-2735-4D72-BB90-E96CF1D085CF}" type="presParOf" srcId="{493859D9-2D0A-4D23-B492-2EF2FF279277}" destId="{2026394F-085B-4AE2-B146-5D8E1EAA3AF1}" srcOrd="0" destOrd="0" presId="urn:microsoft.com/office/officeart/2005/8/layout/orgChart1"/>
    <dgm:cxn modelId="{B6F732B4-3532-4539-96EC-9EAEE1BD05B8}" type="presParOf" srcId="{493859D9-2D0A-4D23-B492-2EF2FF279277}" destId="{E9EA45DC-F8DC-4184-941C-6EF348D1FD07}" srcOrd="1" destOrd="0" presId="urn:microsoft.com/office/officeart/2005/8/layout/orgChart1"/>
    <dgm:cxn modelId="{D5BE6F36-2DBA-4940-8776-FEFA28526008}" type="presParOf" srcId="{E9EA45DC-F8DC-4184-941C-6EF348D1FD07}" destId="{761B0C55-FB3A-42F9-B67C-1C816EF2CE57}" srcOrd="0" destOrd="0" presId="urn:microsoft.com/office/officeart/2005/8/layout/orgChart1"/>
    <dgm:cxn modelId="{B2CE158B-C520-4D7D-A9AF-E5D7D6B16673}" type="presParOf" srcId="{761B0C55-FB3A-42F9-B67C-1C816EF2CE57}" destId="{AF35D086-E8D7-44FE-95C7-9384DCA62549}" srcOrd="0" destOrd="0" presId="urn:microsoft.com/office/officeart/2005/8/layout/orgChart1"/>
    <dgm:cxn modelId="{4564E019-A00D-4B75-B86F-BD2C470CD6AB}" type="presParOf" srcId="{761B0C55-FB3A-42F9-B67C-1C816EF2CE57}" destId="{E1835117-C233-4538-AE41-51AD105C790F}" srcOrd="1" destOrd="0" presId="urn:microsoft.com/office/officeart/2005/8/layout/orgChart1"/>
    <dgm:cxn modelId="{068E4A98-160F-44FC-90FD-D5D65C2A66C9}" type="presParOf" srcId="{E9EA45DC-F8DC-4184-941C-6EF348D1FD07}" destId="{805653FD-CA4B-44EF-A798-DD1DAAE79872}" srcOrd="1" destOrd="0" presId="urn:microsoft.com/office/officeart/2005/8/layout/orgChart1"/>
    <dgm:cxn modelId="{C13E1F1A-25B1-485B-993B-0DD8A2E8F312}" type="presParOf" srcId="{E9EA45DC-F8DC-4184-941C-6EF348D1FD07}" destId="{86FFFD66-7F94-433F-ACEF-69B409E2AF06}" srcOrd="2" destOrd="0" presId="urn:microsoft.com/office/officeart/2005/8/layout/orgChart1"/>
    <dgm:cxn modelId="{689A027A-931E-48D9-934D-7155F7C32A79}" type="presParOf" srcId="{F58D3848-3A21-430C-B93C-249A6788B309}" destId="{B965ABBD-0A84-4181-8E29-6BD1D529E2A7}" srcOrd="2" destOrd="0" presId="urn:microsoft.com/office/officeart/2005/8/layout/orgChart1"/>
    <dgm:cxn modelId="{E5B291FD-A9DC-4967-A129-CE3133491D7A}" type="presParOf" srcId="{AF6F73C6-CA1F-4797-9D50-C55644A232B9}" destId="{108296D7-F791-486E-A953-A57C93EE971D}" srcOrd="1" destOrd="0" presId="urn:microsoft.com/office/officeart/2005/8/layout/orgChart1"/>
    <dgm:cxn modelId="{2051B9F0-3748-4025-BC01-33A8DE98D5EE}" type="presParOf" srcId="{108296D7-F791-486E-A953-A57C93EE971D}" destId="{DB02ECF5-1071-4CEC-82F0-DC78CC5E20A3}" srcOrd="0" destOrd="0" presId="urn:microsoft.com/office/officeart/2005/8/layout/orgChart1"/>
    <dgm:cxn modelId="{D82E10B8-0E84-41AF-B6A7-5FE5E4A96FB1}" type="presParOf" srcId="{DB02ECF5-1071-4CEC-82F0-DC78CC5E20A3}" destId="{8D152A23-EB61-4D0C-9983-E9A019171B4D}" srcOrd="0" destOrd="0" presId="urn:microsoft.com/office/officeart/2005/8/layout/orgChart1"/>
    <dgm:cxn modelId="{98AF27C9-F42F-4478-A4C6-EBA1945F8455}" type="presParOf" srcId="{DB02ECF5-1071-4CEC-82F0-DC78CC5E20A3}" destId="{DDA97859-53B7-4572-8F15-66C79D0ADE5B}" srcOrd="1" destOrd="0" presId="urn:microsoft.com/office/officeart/2005/8/layout/orgChart1"/>
    <dgm:cxn modelId="{D582BB83-7CAD-42FA-8385-50F4D5FDE76C}" type="presParOf" srcId="{108296D7-F791-486E-A953-A57C93EE971D}" destId="{6D61BDA5-BA1A-4713-A8D7-6D1B227436C1}" srcOrd="1" destOrd="0" presId="urn:microsoft.com/office/officeart/2005/8/layout/orgChart1"/>
    <dgm:cxn modelId="{A5D0EFCE-4948-4B70-BDA2-2ABA462F1A16}" type="presParOf" srcId="{6D61BDA5-BA1A-4713-A8D7-6D1B227436C1}" destId="{EC984FA7-552D-4098-887D-7CF04D5B26C5}" srcOrd="0" destOrd="0" presId="urn:microsoft.com/office/officeart/2005/8/layout/orgChart1"/>
    <dgm:cxn modelId="{3C315F71-61F5-4065-8C53-22C93AEF7C4F}" type="presParOf" srcId="{6D61BDA5-BA1A-4713-A8D7-6D1B227436C1}" destId="{79535343-C9E7-4890-B284-901955A5BF28}" srcOrd="1" destOrd="0" presId="urn:microsoft.com/office/officeart/2005/8/layout/orgChart1"/>
    <dgm:cxn modelId="{80927B18-A132-4F17-AB06-084E2154CCF1}" type="presParOf" srcId="{79535343-C9E7-4890-B284-901955A5BF28}" destId="{E47F2365-A98D-4F25-8A92-A5901045FEE8}" srcOrd="0" destOrd="0" presId="urn:microsoft.com/office/officeart/2005/8/layout/orgChart1"/>
    <dgm:cxn modelId="{619F9A8C-0A3A-4860-894B-6CE1B1C6284D}" type="presParOf" srcId="{E47F2365-A98D-4F25-8A92-A5901045FEE8}" destId="{BB8791A0-D9C9-48EE-97C3-66BDB8C62336}" srcOrd="0" destOrd="0" presId="urn:microsoft.com/office/officeart/2005/8/layout/orgChart1"/>
    <dgm:cxn modelId="{D86B4362-240F-4520-B2A6-8E59DEC6B512}" type="presParOf" srcId="{E47F2365-A98D-4F25-8A92-A5901045FEE8}" destId="{1DD1B593-54BF-4490-A5A0-9D8A230426A2}" srcOrd="1" destOrd="0" presId="urn:microsoft.com/office/officeart/2005/8/layout/orgChart1"/>
    <dgm:cxn modelId="{C7D77C90-872F-49B8-9AE7-F5CCB2045DD9}" type="presParOf" srcId="{79535343-C9E7-4890-B284-901955A5BF28}" destId="{2E01FD47-7BF7-481C-82BE-685987FB7AE6}" srcOrd="1" destOrd="0" presId="urn:microsoft.com/office/officeart/2005/8/layout/orgChart1"/>
    <dgm:cxn modelId="{03DD04DE-0ACD-4868-8E18-83C816C9F203}" type="presParOf" srcId="{79535343-C9E7-4890-B284-901955A5BF28}" destId="{67A2493A-C367-4E26-95AF-5768AB0D7E86}" srcOrd="2" destOrd="0" presId="urn:microsoft.com/office/officeart/2005/8/layout/orgChart1"/>
    <dgm:cxn modelId="{F2D79B0B-3203-4D1F-B140-C80CF7980D8F}" type="presParOf" srcId="{108296D7-F791-486E-A953-A57C93EE971D}" destId="{64D2CE5C-6E0B-49CB-AD42-A48DE4687C41}" srcOrd="2" destOrd="0" presId="urn:microsoft.com/office/officeart/2005/8/layout/orgChart1"/>
    <dgm:cxn modelId="{0F2B6CA4-0219-49FE-8F56-8418DFA427B8}" type="presParOf" srcId="{AF6F73C6-CA1F-4797-9D50-C55644A232B9}" destId="{A412B439-BABB-48C9-A1F8-F15198CD9C82}" srcOrd="2" destOrd="0" presId="urn:microsoft.com/office/officeart/2005/8/layout/orgChart1"/>
    <dgm:cxn modelId="{F049E59E-32E5-4CBA-B341-81D86313913E}" type="presParOf" srcId="{A412B439-BABB-48C9-A1F8-F15198CD9C82}" destId="{C6FEBAEC-A20E-48AA-8338-632A03AF11B2}" srcOrd="0" destOrd="0" presId="urn:microsoft.com/office/officeart/2005/8/layout/orgChart1"/>
    <dgm:cxn modelId="{A89A9B5C-F6E4-413E-B37E-8148BAC1077D}" type="presParOf" srcId="{C6FEBAEC-A20E-48AA-8338-632A03AF11B2}" destId="{5FBC7614-D5CA-4655-B1FC-760FEDC2F42A}" srcOrd="0" destOrd="0" presId="urn:microsoft.com/office/officeart/2005/8/layout/orgChart1"/>
    <dgm:cxn modelId="{07EBBBF4-FD53-4008-A4EF-80C7F945E873}" type="presParOf" srcId="{C6FEBAEC-A20E-48AA-8338-632A03AF11B2}" destId="{3903DE59-A142-46CE-A259-FDD6F9758BDA}" srcOrd="1" destOrd="0" presId="urn:microsoft.com/office/officeart/2005/8/layout/orgChart1"/>
    <dgm:cxn modelId="{86F650C3-6E80-4662-8F2A-1F97A3B49E5A}" type="presParOf" srcId="{A412B439-BABB-48C9-A1F8-F15198CD9C82}" destId="{C5136BD4-774E-43CD-BB9D-5ED3A5310C89}" srcOrd="1" destOrd="0" presId="urn:microsoft.com/office/officeart/2005/8/layout/orgChart1"/>
    <dgm:cxn modelId="{CF926749-B530-4BDB-8AE8-E1F7A4AEDC9E}" type="presParOf" srcId="{C5136BD4-774E-43CD-BB9D-5ED3A5310C89}" destId="{1E4CD3C8-AD66-4D58-84B6-0F48027185E5}" srcOrd="0" destOrd="0" presId="urn:microsoft.com/office/officeart/2005/8/layout/orgChart1"/>
    <dgm:cxn modelId="{F3C0AC5C-C92D-40CA-B779-51659E2B0A2E}" type="presParOf" srcId="{C5136BD4-774E-43CD-BB9D-5ED3A5310C89}" destId="{5A2604E6-74C2-410E-B4EE-B1A8E59E40C4}" srcOrd="1" destOrd="0" presId="urn:microsoft.com/office/officeart/2005/8/layout/orgChart1"/>
    <dgm:cxn modelId="{1BAAA732-4DB3-4685-91D3-3B27BBFADB8A}" type="presParOf" srcId="{5A2604E6-74C2-410E-B4EE-B1A8E59E40C4}" destId="{142924C7-E34B-4800-867C-3A325BAF5542}" srcOrd="0" destOrd="0" presId="urn:microsoft.com/office/officeart/2005/8/layout/orgChart1"/>
    <dgm:cxn modelId="{20E6F53A-16C2-4B17-B203-A8E6DB7ACDB5}" type="presParOf" srcId="{142924C7-E34B-4800-867C-3A325BAF5542}" destId="{7A205381-EB73-45D0-8675-3BC9E2CD6425}" srcOrd="0" destOrd="0" presId="urn:microsoft.com/office/officeart/2005/8/layout/orgChart1"/>
    <dgm:cxn modelId="{76336722-C5E2-447A-96FC-A77D10B3D725}" type="presParOf" srcId="{142924C7-E34B-4800-867C-3A325BAF5542}" destId="{9E4C2511-C222-4473-9F4D-0CF17B28B5F6}" srcOrd="1" destOrd="0" presId="urn:microsoft.com/office/officeart/2005/8/layout/orgChart1"/>
    <dgm:cxn modelId="{94CA5F74-A839-4DA3-B0F6-CB7CDDC47686}" type="presParOf" srcId="{5A2604E6-74C2-410E-B4EE-B1A8E59E40C4}" destId="{73FC765C-8BB3-4B22-8D7F-2D0CA4D718D0}" srcOrd="1" destOrd="0" presId="urn:microsoft.com/office/officeart/2005/8/layout/orgChart1"/>
    <dgm:cxn modelId="{CE4F06C0-DA22-4C4B-9063-5C0E84B5F32B}" type="presParOf" srcId="{5A2604E6-74C2-410E-B4EE-B1A8E59E40C4}" destId="{6AB0715B-17A3-45EA-B286-FFF6D06C0E6D}" srcOrd="2" destOrd="0" presId="urn:microsoft.com/office/officeart/2005/8/layout/orgChart1"/>
    <dgm:cxn modelId="{094BCC39-2E04-4F6B-9A62-676AD8398A2E}" type="presParOf" srcId="{A412B439-BABB-48C9-A1F8-F15198CD9C82}" destId="{2746512D-9754-4E3F-95C7-9FE99A8C448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775E12-0BBC-4D23-9B71-359E7561A9F2}" type="doc">
      <dgm:prSet loTypeId="urn:microsoft.com/office/officeart/2005/8/layout/venn1" loCatId="relationship" qsTypeId="urn:microsoft.com/office/officeart/2005/8/quickstyle/simple1" qsCatId="simple" csTypeId="urn:microsoft.com/office/officeart/2005/8/colors/accent1_2" csCatId="accent1"/>
      <dgm:spPr/>
      <dgm:t>
        <a:bodyPr/>
        <a:lstStyle/>
        <a:p>
          <a:endParaRPr lang="en-US"/>
        </a:p>
      </dgm:t>
    </dgm:pt>
    <dgm:pt modelId="{D85917B7-12EF-4C12-8090-079B03713A8E}">
      <dgm:prSet/>
      <dgm:spPr/>
      <dgm:t>
        <a:bodyPr/>
        <a:lstStyle/>
        <a:p>
          <a:endParaRPr lang="en-US"/>
        </a:p>
      </dgm:t>
    </dgm:pt>
    <dgm:pt modelId="{75CA50D7-CDD2-4A09-832D-F3BD448F27DE}" type="parTrans" cxnId="{4732211C-AE53-4AD0-B175-44341192E3FF}">
      <dgm:prSet/>
      <dgm:spPr/>
      <dgm:t>
        <a:bodyPr/>
        <a:lstStyle/>
        <a:p>
          <a:endParaRPr lang="en-US"/>
        </a:p>
      </dgm:t>
    </dgm:pt>
    <dgm:pt modelId="{3F72F6CD-45C4-49CE-8743-753282A3B4E1}" type="sibTrans" cxnId="{4732211C-AE53-4AD0-B175-44341192E3FF}">
      <dgm:prSet/>
      <dgm:spPr/>
      <dgm:t>
        <a:bodyPr/>
        <a:lstStyle/>
        <a:p>
          <a:endParaRPr lang="en-US"/>
        </a:p>
      </dgm:t>
    </dgm:pt>
    <dgm:pt modelId="{155A9018-0C68-4960-A4EC-77E7540EAA2B}">
      <dgm:prSet/>
      <dgm:spPr/>
      <dgm:t>
        <a:bodyPr/>
        <a:lstStyle/>
        <a:p>
          <a:r>
            <a:rPr lang="en-US"/>
            <a:t>DIRECTS EPA REGIONAL OFFICES TO UPDATE THEIR 2014 ADAPTATION PLANS</a:t>
          </a:r>
        </a:p>
      </dgm:t>
    </dgm:pt>
    <dgm:pt modelId="{E7E495C6-9EEF-453F-88D3-1652E5CB956D}" type="parTrans" cxnId="{3C189C99-0F91-4A08-B874-AEF47EECCDEA}">
      <dgm:prSet/>
      <dgm:spPr/>
      <dgm:t>
        <a:bodyPr/>
        <a:lstStyle/>
        <a:p>
          <a:endParaRPr lang="en-US"/>
        </a:p>
      </dgm:t>
    </dgm:pt>
    <dgm:pt modelId="{9BED687F-F8A1-4F3B-AE65-11E8EA0E1AF1}" type="sibTrans" cxnId="{3C189C99-0F91-4A08-B874-AEF47EECCDEA}">
      <dgm:prSet/>
      <dgm:spPr/>
      <dgm:t>
        <a:bodyPr/>
        <a:lstStyle/>
        <a:p>
          <a:endParaRPr lang="en-US"/>
        </a:p>
      </dgm:t>
    </dgm:pt>
    <dgm:pt modelId="{AC776499-DCCC-4DCA-9BA4-B891F38D0DB9}" type="pres">
      <dgm:prSet presAssocID="{8E775E12-0BBC-4D23-9B71-359E7561A9F2}" presName="compositeShape" presStyleCnt="0">
        <dgm:presLayoutVars>
          <dgm:chMax val="7"/>
          <dgm:dir/>
          <dgm:resizeHandles val="exact"/>
        </dgm:presLayoutVars>
      </dgm:prSet>
      <dgm:spPr/>
    </dgm:pt>
    <dgm:pt modelId="{8F775FCF-4982-4338-9E05-1481C55BC45B}" type="pres">
      <dgm:prSet presAssocID="{D85917B7-12EF-4C12-8090-079B03713A8E}" presName="circ1TxSh" presStyleLbl="vennNode1" presStyleIdx="0" presStyleCnt="1"/>
      <dgm:spPr/>
    </dgm:pt>
  </dgm:ptLst>
  <dgm:cxnLst>
    <dgm:cxn modelId="{E584F00E-3A20-493B-987A-095FA1E5DA16}" type="presOf" srcId="{D85917B7-12EF-4C12-8090-079B03713A8E}" destId="{8F775FCF-4982-4338-9E05-1481C55BC45B}" srcOrd="0" destOrd="0" presId="urn:microsoft.com/office/officeart/2005/8/layout/venn1"/>
    <dgm:cxn modelId="{4732211C-AE53-4AD0-B175-44341192E3FF}" srcId="{8E775E12-0BBC-4D23-9B71-359E7561A9F2}" destId="{D85917B7-12EF-4C12-8090-079B03713A8E}" srcOrd="0" destOrd="0" parTransId="{75CA50D7-CDD2-4A09-832D-F3BD448F27DE}" sibTransId="{3F72F6CD-45C4-49CE-8743-753282A3B4E1}"/>
    <dgm:cxn modelId="{F2BA6E7A-4E32-4A60-9D54-D9CE4AE29C6E}" type="presOf" srcId="{8E775E12-0BBC-4D23-9B71-359E7561A9F2}" destId="{AC776499-DCCC-4DCA-9BA4-B891F38D0DB9}" srcOrd="0" destOrd="0" presId="urn:microsoft.com/office/officeart/2005/8/layout/venn1"/>
    <dgm:cxn modelId="{3C189C99-0F91-4A08-B874-AEF47EECCDEA}" srcId="{D85917B7-12EF-4C12-8090-079B03713A8E}" destId="{155A9018-0C68-4960-A4EC-77E7540EAA2B}" srcOrd="0" destOrd="0" parTransId="{E7E495C6-9EEF-453F-88D3-1652E5CB956D}" sibTransId="{9BED687F-F8A1-4F3B-AE65-11E8EA0E1AF1}"/>
    <dgm:cxn modelId="{5B7A4FC1-FDFD-4242-9291-CC7E927CAD65}" type="presOf" srcId="{155A9018-0C68-4960-A4EC-77E7540EAA2B}" destId="{8F775FCF-4982-4338-9E05-1481C55BC45B}" srcOrd="0" destOrd="1" presId="urn:microsoft.com/office/officeart/2005/8/layout/venn1"/>
    <dgm:cxn modelId="{B09295C5-C72A-4B9E-A427-D7CD31297496}" type="presParOf" srcId="{AC776499-DCCC-4DCA-9BA4-B891F38D0DB9}" destId="{8F775FCF-4982-4338-9E05-1481C55BC45B}" srcOrd="0" destOrd="0" presId="urn:microsoft.com/office/officeart/2005/8/layout/ven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20539B-239E-43D2-BB31-15549B994E2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96D42D1-2D4A-40DA-B854-3C0C18D67979}">
      <dgm:prSet/>
      <dgm:spPr/>
      <dgm:t>
        <a:bodyPr/>
        <a:lstStyle/>
        <a:p>
          <a:r>
            <a:rPr lang="en-US" dirty="0"/>
            <a:t>Released Oct. 6, 2022</a:t>
          </a:r>
        </a:p>
      </dgm:t>
    </dgm:pt>
    <dgm:pt modelId="{677319E6-D8C7-40AB-AFB7-3220F31C921C}" type="parTrans" cxnId="{C55F73B2-4690-4218-83AE-15DB49DEAEDA}">
      <dgm:prSet/>
      <dgm:spPr/>
      <dgm:t>
        <a:bodyPr/>
        <a:lstStyle/>
        <a:p>
          <a:endParaRPr lang="en-US"/>
        </a:p>
      </dgm:t>
    </dgm:pt>
    <dgm:pt modelId="{81C968C2-6CD7-47E7-A1FD-89095E1AF790}" type="sibTrans" cxnId="{C55F73B2-4690-4218-83AE-15DB49DEAEDA}">
      <dgm:prSet/>
      <dgm:spPr/>
      <dgm:t>
        <a:bodyPr/>
        <a:lstStyle/>
        <a:p>
          <a:endParaRPr lang="en-US"/>
        </a:p>
      </dgm:t>
    </dgm:pt>
    <dgm:pt modelId="{834C4BC4-8B44-4B1C-85B3-5B43C19F3AB2}" type="pres">
      <dgm:prSet presAssocID="{5D20539B-239E-43D2-BB31-15549B994E27}" presName="linear" presStyleCnt="0">
        <dgm:presLayoutVars>
          <dgm:animLvl val="lvl"/>
          <dgm:resizeHandles val="exact"/>
        </dgm:presLayoutVars>
      </dgm:prSet>
      <dgm:spPr/>
    </dgm:pt>
    <dgm:pt modelId="{0CADAF27-E559-4C54-9E5A-6C9BAD3F1859}" type="pres">
      <dgm:prSet presAssocID="{D96D42D1-2D4A-40DA-B854-3C0C18D67979}" presName="parentText" presStyleLbl="node1" presStyleIdx="0" presStyleCnt="1">
        <dgm:presLayoutVars>
          <dgm:chMax val="0"/>
          <dgm:bulletEnabled val="1"/>
        </dgm:presLayoutVars>
      </dgm:prSet>
      <dgm:spPr/>
    </dgm:pt>
  </dgm:ptLst>
  <dgm:cxnLst>
    <dgm:cxn modelId="{ED18A79E-7CAE-4796-A0A5-930DFF4FDA95}" type="presOf" srcId="{D96D42D1-2D4A-40DA-B854-3C0C18D67979}" destId="{0CADAF27-E559-4C54-9E5A-6C9BAD3F1859}" srcOrd="0" destOrd="0" presId="urn:microsoft.com/office/officeart/2005/8/layout/vList2"/>
    <dgm:cxn modelId="{C55F73B2-4690-4218-83AE-15DB49DEAEDA}" srcId="{5D20539B-239E-43D2-BB31-15549B994E27}" destId="{D96D42D1-2D4A-40DA-B854-3C0C18D67979}" srcOrd="0" destOrd="0" parTransId="{677319E6-D8C7-40AB-AFB7-3220F31C921C}" sibTransId="{81C968C2-6CD7-47E7-A1FD-89095E1AF790}"/>
    <dgm:cxn modelId="{E163B3D9-8DA4-4D08-9E83-A2DBF44AD86E}" type="presOf" srcId="{5D20539B-239E-43D2-BB31-15549B994E27}" destId="{834C4BC4-8B44-4B1C-85B3-5B43C19F3AB2}" srcOrd="0" destOrd="0" presId="urn:microsoft.com/office/officeart/2005/8/layout/vList2"/>
    <dgm:cxn modelId="{166BE496-09C0-4B05-8648-55D59793A966}" type="presParOf" srcId="{834C4BC4-8B44-4B1C-85B3-5B43C19F3AB2}" destId="{0CADAF27-E559-4C54-9E5A-6C9BAD3F1859}"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2631B9A-25A9-49C5-94BB-4740FC4B911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E7C7B1E0-3F3B-4833-B648-809C9CED13C9}">
      <dgm:prSet/>
      <dgm:spPr/>
      <dgm:t>
        <a:bodyPr/>
        <a:lstStyle/>
        <a:p>
          <a:r>
            <a:rPr lang="en-US" i="1"/>
            <a:t>Vulnerability Assessment</a:t>
          </a:r>
          <a:r>
            <a:rPr lang="en-US"/>
            <a:t> </a:t>
          </a:r>
        </a:p>
      </dgm:t>
    </dgm:pt>
    <dgm:pt modelId="{CBF86CCD-AFDA-4075-B5BB-B613BD891A93}" type="parTrans" cxnId="{2B5E8765-37FC-499F-A586-4F1844A76EFD}">
      <dgm:prSet/>
      <dgm:spPr/>
      <dgm:t>
        <a:bodyPr/>
        <a:lstStyle/>
        <a:p>
          <a:endParaRPr lang="en-US"/>
        </a:p>
      </dgm:t>
    </dgm:pt>
    <dgm:pt modelId="{8A17E329-D65A-4AEF-B0B0-6E55BD46961F}" type="sibTrans" cxnId="{2B5E8765-37FC-499F-A586-4F1844A76EFD}">
      <dgm:prSet/>
      <dgm:spPr/>
      <dgm:t>
        <a:bodyPr/>
        <a:lstStyle/>
        <a:p>
          <a:endParaRPr lang="en-US"/>
        </a:p>
      </dgm:t>
    </dgm:pt>
    <dgm:pt modelId="{ACD3D461-5D93-4070-B65B-8FBE24277D31}">
      <dgm:prSet/>
      <dgm:spPr/>
      <dgm:t>
        <a:bodyPr/>
        <a:lstStyle/>
        <a:p>
          <a:r>
            <a:rPr lang="en-US" dirty="0"/>
            <a:t>Regional vulnerabilities (e.g., rising seas, high temperatures, tidal flooding)</a:t>
          </a:r>
        </a:p>
      </dgm:t>
    </dgm:pt>
    <dgm:pt modelId="{F9999484-348B-4629-ABC0-0ACF75192FA2}" type="parTrans" cxnId="{937FB1C5-532A-451E-BDB6-8441307DCA42}">
      <dgm:prSet/>
      <dgm:spPr/>
      <dgm:t>
        <a:bodyPr/>
        <a:lstStyle/>
        <a:p>
          <a:endParaRPr lang="en-US"/>
        </a:p>
      </dgm:t>
    </dgm:pt>
    <dgm:pt modelId="{162C9185-D1A8-4AA6-81E6-EA5850E04AC8}" type="sibTrans" cxnId="{937FB1C5-532A-451E-BDB6-8441307DCA42}">
      <dgm:prSet/>
      <dgm:spPr/>
      <dgm:t>
        <a:bodyPr/>
        <a:lstStyle/>
        <a:p>
          <a:endParaRPr lang="en-US"/>
        </a:p>
      </dgm:t>
    </dgm:pt>
    <dgm:pt modelId="{2C74C356-4C5F-4ECB-8334-2D629CC3DAD0}">
      <dgm:prSet/>
      <dgm:spPr/>
      <dgm:t>
        <a:bodyPr/>
        <a:lstStyle/>
        <a:p>
          <a:r>
            <a:rPr lang="en-US" dirty="0"/>
            <a:t>Programmatic vulnerabilities (e.g., Air Quality; Water Quality; Contaminated Sites; Use and Exposure to Toxic Chemicals; EPA’s Facilities and Operations) </a:t>
          </a:r>
        </a:p>
      </dgm:t>
    </dgm:pt>
    <dgm:pt modelId="{525AD387-BE50-421F-A837-293466F9144F}" type="parTrans" cxnId="{90724A83-0134-40DF-A941-A2765D202CD5}">
      <dgm:prSet/>
      <dgm:spPr/>
      <dgm:t>
        <a:bodyPr/>
        <a:lstStyle/>
        <a:p>
          <a:endParaRPr lang="en-US"/>
        </a:p>
      </dgm:t>
    </dgm:pt>
    <dgm:pt modelId="{7D651B10-177E-49BE-8585-F889D4F0B679}" type="sibTrans" cxnId="{90724A83-0134-40DF-A941-A2765D202CD5}">
      <dgm:prSet/>
      <dgm:spPr/>
      <dgm:t>
        <a:bodyPr/>
        <a:lstStyle/>
        <a:p>
          <a:endParaRPr lang="en-US"/>
        </a:p>
      </dgm:t>
    </dgm:pt>
    <dgm:pt modelId="{D13BECD8-55EB-40C6-BDFF-7280E33DBAA0}">
      <dgm:prSet/>
      <dgm:spPr/>
      <dgm:t>
        <a:bodyPr/>
        <a:lstStyle/>
        <a:p>
          <a:r>
            <a:rPr lang="en-US" i="1"/>
            <a:t>44 Regional Priority Actions </a:t>
          </a:r>
          <a:r>
            <a:rPr lang="en-US"/>
            <a:t> </a:t>
          </a:r>
        </a:p>
      </dgm:t>
    </dgm:pt>
    <dgm:pt modelId="{A6D3C4BA-00F1-4A7F-9988-DC4209D03572}" type="parTrans" cxnId="{80E47628-6FE1-443D-B7B1-E8D096C8F6C8}">
      <dgm:prSet/>
      <dgm:spPr/>
      <dgm:t>
        <a:bodyPr/>
        <a:lstStyle/>
        <a:p>
          <a:endParaRPr lang="en-US"/>
        </a:p>
      </dgm:t>
    </dgm:pt>
    <dgm:pt modelId="{A812BE82-0A48-47E2-9947-91C377F11955}" type="sibTrans" cxnId="{80E47628-6FE1-443D-B7B1-E8D096C8F6C8}">
      <dgm:prSet/>
      <dgm:spPr/>
      <dgm:t>
        <a:bodyPr/>
        <a:lstStyle/>
        <a:p>
          <a:endParaRPr lang="en-US"/>
        </a:p>
      </dgm:t>
    </dgm:pt>
    <dgm:pt modelId="{6BDE98FC-8F24-4C20-9CA7-72247EA3A0E4}">
      <dgm:prSet/>
      <dgm:spPr/>
      <dgm:t>
        <a:bodyPr/>
        <a:lstStyle/>
        <a:p>
          <a:r>
            <a:rPr lang="en-US"/>
            <a:t>Reduce Impacts/Adapt to the identified programmatic vulnerabilities</a:t>
          </a:r>
        </a:p>
      </dgm:t>
    </dgm:pt>
    <dgm:pt modelId="{08448DFE-4514-44BA-AABF-8754A5E4D5D3}" type="parTrans" cxnId="{8441E534-6FCD-441F-8740-FDDA9F059EA1}">
      <dgm:prSet/>
      <dgm:spPr/>
      <dgm:t>
        <a:bodyPr/>
        <a:lstStyle/>
        <a:p>
          <a:endParaRPr lang="en-US"/>
        </a:p>
      </dgm:t>
    </dgm:pt>
    <dgm:pt modelId="{42ABAAC7-B9C5-45BA-BCF8-0B8A49AA2390}" type="sibTrans" cxnId="{8441E534-6FCD-441F-8740-FDDA9F059EA1}">
      <dgm:prSet/>
      <dgm:spPr/>
      <dgm:t>
        <a:bodyPr/>
        <a:lstStyle/>
        <a:p>
          <a:endParaRPr lang="en-US"/>
        </a:p>
      </dgm:t>
    </dgm:pt>
    <dgm:pt modelId="{2E18F700-043D-49D5-B141-A3340EF1BADD}">
      <dgm:prSet/>
      <dgm:spPr/>
      <dgm:t>
        <a:bodyPr/>
        <a:lstStyle/>
        <a:p>
          <a:r>
            <a:rPr lang="en-US"/>
            <a:t>Categorized into six thematic areas </a:t>
          </a:r>
        </a:p>
      </dgm:t>
    </dgm:pt>
    <dgm:pt modelId="{650649B1-4C14-43B0-AF64-DCDFE39E1ECE}" type="parTrans" cxnId="{72DA8987-C143-47DE-9CF4-BACBC4D16F4D}">
      <dgm:prSet/>
      <dgm:spPr/>
      <dgm:t>
        <a:bodyPr/>
        <a:lstStyle/>
        <a:p>
          <a:endParaRPr lang="en-US"/>
        </a:p>
      </dgm:t>
    </dgm:pt>
    <dgm:pt modelId="{F0AEDB1B-3701-4833-BFAD-0B18537FACBA}" type="sibTrans" cxnId="{72DA8987-C143-47DE-9CF4-BACBC4D16F4D}">
      <dgm:prSet/>
      <dgm:spPr/>
      <dgm:t>
        <a:bodyPr/>
        <a:lstStyle/>
        <a:p>
          <a:endParaRPr lang="en-US"/>
        </a:p>
      </dgm:t>
    </dgm:pt>
    <dgm:pt modelId="{4C06EA3F-93C7-42F0-BCE2-5EB176A02D03}">
      <dgm:prSet/>
      <dgm:spPr/>
      <dgm:t>
        <a:bodyPr/>
        <a:lstStyle/>
        <a:p>
          <a:r>
            <a:rPr lang="en-US"/>
            <a:t>Majority require additional resources</a:t>
          </a:r>
        </a:p>
      </dgm:t>
    </dgm:pt>
    <dgm:pt modelId="{5ED19186-1490-4C24-962B-1ED3CB2E9FA7}" type="parTrans" cxnId="{21C410D5-DB9A-4F4B-A782-5AA6E121D578}">
      <dgm:prSet/>
      <dgm:spPr/>
      <dgm:t>
        <a:bodyPr/>
        <a:lstStyle/>
        <a:p>
          <a:endParaRPr lang="en-US"/>
        </a:p>
      </dgm:t>
    </dgm:pt>
    <dgm:pt modelId="{EAF9B497-12FD-4FEF-A5DE-854243CC65A7}" type="sibTrans" cxnId="{21C410D5-DB9A-4F4B-A782-5AA6E121D578}">
      <dgm:prSet/>
      <dgm:spPr/>
      <dgm:t>
        <a:bodyPr/>
        <a:lstStyle/>
        <a:p>
          <a:endParaRPr lang="en-US"/>
        </a:p>
      </dgm:t>
    </dgm:pt>
    <dgm:pt modelId="{934F6642-071E-4A6C-BC21-D2655E411175}">
      <dgm:prSet/>
      <dgm:spPr/>
      <dgm:t>
        <a:bodyPr/>
        <a:lstStyle/>
        <a:p>
          <a:r>
            <a:rPr lang="en-US" i="1"/>
            <a:t>Training EPA Staff  </a:t>
          </a:r>
          <a:endParaRPr lang="en-US"/>
        </a:p>
      </dgm:t>
    </dgm:pt>
    <dgm:pt modelId="{A7CC1867-92DB-4E01-B849-1732DFB8A466}" type="parTrans" cxnId="{A3933325-69B2-45A2-A0DB-A013B3B62EA3}">
      <dgm:prSet/>
      <dgm:spPr/>
      <dgm:t>
        <a:bodyPr/>
        <a:lstStyle/>
        <a:p>
          <a:endParaRPr lang="en-US"/>
        </a:p>
      </dgm:t>
    </dgm:pt>
    <dgm:pt modelId="{BB74E6EF-3B0F-4305-B38F-391745EB4A74}" type="sibTrans" cxnId="{A3933325-69B2-45A2-A0DB-A013B3B62EA3}">
      <dgm:prSet/>
      <dgm:spPr/>
      <dgm:t>
        <a:bodyPr/>
        <a:lstStyle/>
        <a:p>
          <a:endParaRPr lang="en-US"/>
        </a:p>
      </dgm:t>
    </dgm:pt>
    <dgm:pt modelId="{15AA4E84-1463-4BE2-9AE9-BF359A072C9E}">
      <dgm:prSet/>
      <dgm:spPr/>
      <dgm:t>
        <a:bodyPr/>
        <a:lstStyle/>
        <a:p>
          <a:r>
            <a:rPr lang="en-US" i="1"/>
            <a:t>Science Needs - to better inform climate change adaptation efforts</a:t>
          </a:r>
          <a:endParaRPr lang="en-US"/>
        </a:p>
      </dgm:t>
    </dgm:pt>
    <dgm:pt modelId="{13E359D8-092B-4F6E-9919-3190332FC25E}" type="parTrans" cxnId="{3C1896CA-1EDC-48EF-8E73-AEBFCDCC10C9}">
      <dgm:prSet/>
      <dgm:spPr/>
      <dgm:t>
        <a:bodyPr/>
        <a:lstStyle/>
        <a:p>
          <a:endParaRPr lang="en-US"/>
        </a:p>
      </dgm:t>
    </dgm:pt>
    <dgm:pt modelId="{07D9181C-7286-4471-B451-F0A1BD510F35}" type="sibTrans" cxnId="{3C1896CA-1EDC-48EF-8E73-AEBFCDCC10C9}">
      <dgm:prSet/>
      <dgm:spPr/>
      <dgm:t>
        <a:bodyPr/>
        <a:lstStyle/>
        <a:p>
          <a:endParaRPr lang="en-US"/>
        </a:p>
      </dgm:t>
    </dgm:pt>
    <dgm:pt modelId="{1559216B-6491-4DF2-B6E6-49F93F98CE8E}" type="pres">
      <dgm:prSet presAssocID="{42631B9A-25A9-49C5-94BB-4740FC4B9112}" presName="linear" presStyleCnt="0">
        <dgm:presLayoutVars>
          <dgm:animLvl val="lvl"/>
          <dgm:resizeHandles val="exact"/>
        </dgm:presLayoutVars>
      </dgm:prSet>
      <dgm:spPr/>
    </dgm:pt>
    <dgm:pt modelId="{414CE1A1-4A67-4578-B60B-B8A23153EC47}" type="pres">
      <dgm:prSet presAssocID="{E7C7B1E0-3F3B-4833-B648-809C9CED13C9}" presName="parentText" presStyleLbl="node1" presStyleIdx="0" presStyleCnt="4">
        <dgm:presLayoutVars>
          <dgm:chMax val="0"/>
          <dgm:bulletEnabled val="1"/>
        </dgm:presLayoutVars>
      </dgm:prSet>
      <dgm:spPr/>
    </dgm:pt>
    <dgm:pt modelId="{A7CD68F2-77AC-42A5-881F-4604D646A180}" type="pres">
      <dgm:prSet presAssocID="{E7C7B1E0-3F3B-4833-B648-809C9CED13C9}" presName="childText" presStyleLbl="revTx" presStyleIdx="0" presStyleCnt="2">
        <dgm:presLayoutVars>
          <dgm:bulletEnabled val="1"/>
        </dgm:presLayoutVars>
      </dgm:prSet>
      <dgm:spPr/>
    </dgm:pt>
    <dgm:pt modelId="{4674D892-5880-49E8-8328-72D8B0CA9A5A}" type="pres">
      <dgm:prSet presAssocID="{D13BECD8-55EB-40C6-BDFF-7280E33DBAA0}" presName="parentText" presStyleLbl="node1" presStyleIdx="1" presStyleCnt="4">
        <dgm:presLayoutVars>
          <dgm:chMax val="0"/>
          <dgm:bulletEnabled val="1"/>
        </dgm:presLayoutVars>
      </dgm:prSet>
      <dgm:spPr/>
    </dgm:pt>
    <dgm:pt modelId="{EF6350D9-6E37-424B-BBF2-505BBF7535DE}" type="pres">
      <dgm:prSet presAssocID="{D13BECD8-55EB-40C6-BDFF-7280E33DBAA0}" presName="childText" presStyleLbl="revTx" presStyleIdx="1" presStyleCnt="2">
        <dgm:presLayoutVars>
          <dgm:bulletEnabled val="1"/>
        </dgm:presLayoutVars>
      </dgm:prSet>
      <dgm:spPr/>
    </dgm:pt>
    <dgm:pt modelId="{CEBE9B3E-3052-4C43-A4F7-C34E57C820B3}" type="pres">
      <dgm:prSet presAssocID="{934F6642-071E-4A6C-BC21-D2655E411175}" presName="parentText" presStyleLbl="node1" presStyleIdx="2" presStyleCnt="4">
        <dgm:presLayoutVars>
          <dgm:chMax val="0"/>
          <dgm:bulletEnabled val="1"/>
        </dgm:presLayoutVars>
      </dgm:prSet>
      <dgm:spPr/>
    </dgm:pt>
    <dgm:pt modelId="{3D9A0F50-C3E8-4CF0-B136-5485826AF7B9}" type="pres">
      <dgm:prSet presAssocID="{BB74E6EF-3B0F-4305-B38F-391745EB4A74}" presName="spacer" presStyleCnt="0"/>
      <dgm:spPr/>
    </dgm:pt>
    <dgm:pt modelId="{682984CA-EF06-4F28-9835-EA1413B30196}" type="pres">
      <dgm:prSet presAssocID="{15AA4E84-1463-4BE2-9AE9-BF359A072C9E}" presName="parentText" presStyleLbl="node1" presStyleIdx="3" presStyleCnt="4">
        <dgm:presLayoutVars>
          <dgm:chMax val="0"/>
          <dgm:bulletEnabled val="1"/>
        </dgm:presLayoutVars>
      </dgm:prSet>
      <dgm:spPr/>
    </dgm:pt>
  </dgm:ptLst>
  <dgm:cxnLst>
    <dgm:cxn modelId="{35E3D105-FE60-47A1-893D-C663C7EDD7F1}" type="presOf" srcId="{42631B9A-25A9-49C5-94BB-4740FC4B9112}" destId="{1559216B-6491-4DF2-B6E6-49F93F98CE8E}" srcOrd="0" destOrd="0" presId="urn:microsoft.com/office/officeart/2005/8/layout/vList2"/>
    <dgm:cxn modelId="{DE9B870D-7A95-4B67-A4E6-868D0F175C02}" type="presOf" srcId="{D13BECD8-55EB-40C6-BDFF-7280E33DBAA0}" destId="{4674D892-5880-49E8-8328-72D8B0CA9A5A}" srcOrd="0" destOrd="0" presId="urn:microsoft.com/office/officeart/2005/8/layout/vList2"/>
    <dgm:cxn modelId="{5CCABD15-FCD7-4D2C-AD8D-A9271664BBEC}" type="presOf" srcId="{934F6642-071E-4A6C-BC21-D2655E411175}" destId="{CEBE9B3E-3052-4C43-A4F7-C34E57C820B3}" srcOrd="0" destOrd="0" presId="urn:microsoft.com/office/officeart/2005/8/layout/vList2"/>
    <dgm:cxn modelId="{A3933325-69B2-45A2-A0DB-A013B3B62EA3}" srcId="{42631B9A-25A9-49C5-94BB-4740FC4B9112}" destId="{934F6642-071E-4A6C-BC21-D2655E411175}" srcOrd="2" destOrd="0" parTransId="{A7CC1867-92DB-4E01-B849-1732DFB8A466}" sibTransId="{BB74E6EF-3B0F-4305-B38F-391745EB4A74}"/>
    <dgm:cxn modelId="{80E47628-6FE1-443D-B7B1-E8D096C8F6C8}" srcId="{42631B9A-25A9-49C5-94BB-4740FC4B9112}" destId="{D13BECD8-55EB-40C6-BDFF-7280E33DBAA0}" srcOrd="1" destOrd="0" parTransId="{A6D3C4BA-00F1-4A7F-9988-DC4209D03572}" sibTransId="{A812BE82-0A48-47E2-9947-91C377F11955}"/>
    <dgm:cxn modelId="{8441E534-6FCD-441F-8740-FDDA9F059EA1}" srcId="{D13BECD8-55EB-40C6-BDFF-7280E33DBAA0}" destId="{6BDE98FC-8F24-4C20-9CA7-72247EA3A0E4}" srcOrd="0" destOrd="0" parTransId="{08448DFE-4514-44BA-AABF-8754A5E4D5D3}" sibTransId="{42ABAAC7-B9C5-45BA-BCF8-0B8A49AA2390}"/>
    <dgm:cxn modelId="{FF876F3B-913C-4BE8-9759-02FDAD1178D9}" type="presOf" srcId="{15AA4E84-1463-4BE2-9AE9-BF359A072C9E}" destId="{682984CA-EF06-4F28-9835-EA1413B30196}" srcOrd="0" destOrd="0" presId="urn:microsoft.com/office/officeart/2005/8/layout/vList2"/>
    <dgm:cxn modelId="{5C78233E-6B1D-4088-BEDB-316E5729D077}" type="presOf" srcId="{ACD3D461-5D93-4070-B65B-8FBE24277D31}" destId="{A7CD68F2-77AC-42A5-881F-4604D646A180}" srcOrd="0" destOrd="0" presId="urn:microsoft.com/office/officeart/2005/8/layout/vList2"/>
    <dgm:cxn modelId="{2B5E8765-37FC-499F-A586-4F1844A76EFD}" srcId="{42631B9A-25A9-49C5-94BB-4740FC4B9112}" destId="{E7C7B1E0-3F3B-4833-B648-809C9CED13C9}" srcOrd="0" destOrd="0" parTransId="{CBF86CCD-AFDA-4075-B5BB-B613BD891A93}" sibTransId="{8A17E329-D65A-4AEF-B0B0-6E55BD46961F}"/>
    <dgm:cxn modelId="{BCA8F74D-E3FB-48C1-A8B5-14474B0DE38B}" type="presOf" srcId="{E7C7B1E0-3F3B-4833-B648-809C9CED13C9}" destId="{414CE1A1-4A67-4578-B60B-B8A23153EC47}" srcOrd="0" destOrd="0" presId="urn:microsoft.com/office/officeart/2005/8/layout/vList2"/>
    <dgm:cxn modelId="{7D9CFD70-8EE2-46CA-B05E-111A51F8F103}" type="presOf" srcId="{2C74C356-4C5F-4ECB-8334-2D629CC3DAD0}" destId="{A7CD68F2-77AC-42A5-881F-4604D646A180}" srcOrd="0" destOrd="1" presId="urn:microsoft.com/office/officeart/2005/8/layout/vList2"/>
    <dgm:cxn modelId="{6CDC4559-CA7E-4C6F-BD67-829FB71101A2}" type="presOf" srcId="{4C06EA3F-93C7-42F0-BCE2-5EB176A02D03}" destId="{EF6350D9-6E37-424B-BBF2-505BBF7535DE}" srcOrd="0" destOrd="2" presId="urn:microsoft.com/office/officeart/2005/8/layout/vList2"/>
    <dgm:cxn modelId="{90724A83-0134-40DF-A941-A2765D202CD5}" srcId="{E7C7B1E0-3F3B-4833-B648-809C9CED13C9}" destId="{2C74C356-4C5F-4ECB-8334-2D629CC3DAD0}" srcOrd="1" destOrd="0" parTransId="{525AD387-BE50-421F-A837-293466F9144F}" sibTransId="{7D651B10-177E-49BE-8585-F889D4F0B679}"/>
    <dgm:cxn modelId="{72DA8987-C143-47DE-9CF4-BACBC4D16F4D}" srcId="{D13BECD8-55EB-40C6-BDFF-7280E33DBAA0}" destId="{2E18F700-043D-49D5-B141-A3340EF1BADD}" srcOrd="1" destOrd="0" parTransId="{650649B1-4C14-43B0-AF64-DCDFE39E1ECE}" sibTransId="{F0AEDB1B-3701-4833-BFAD-0B18537FACBA}"/>
    <dgm:cxn modelId="{937FB1C5-532A-451E-BDB6-8441307DCA42}" srcId="{E7C7B1E0-3F3B-4833-B648-809C9CED13C9}" destId="{ACD3D461-5D93-4070-B65B-8FBE24277D31}" srcOrd="0" destOrd="0" parTransId="{F9999484-348B-4629-ABC0-0ACF75192FA2}" sibTransId="{162C9185-D1A8-4AA6-81E6-EA5850E04AC8}"/>
    <dgm:cxn modelId="{3C1896CA-1EDC-48EF-8E73-AEBFCDCC10C9}" srcId="{42631B9A-25A9-49C5-94BB-4740FC4B9112}" destId="{15AA4E84-1463-4BE2-9AE9-BF359A072C9E}" srcOrd="3" destOrd="0" parTransId="{13E359D8-092B-4F6E-9919-3190332FC25E}" sibTransId="{07D9181C-7286-4471-B451-F0A1BD510F35}"/>
    <dgm:cxn modelId="{21C410D5-DB9A-4F4B-A782-5AA6E121D578}" srcId="{D13BECD8-55EB-40C6-BDFF-7280E33DBAA0}" destId="{4C06EA3F-93C7-42F0-BCE2-5EB176A02D03}" srcOrd="2" destOrd="0" parTransId="{5ED19186-1490-4C24-962B-1ED3CB2E9FA7}" sibTransId="{EAF9B497-12FD-4FEF-A5DE-854243CC65A7}"/>
    <dgm:cxn modelId="{6367D3E9-7F87-4A2C-BE27-0290120CC219}" type="presOf" srcId="{2E18F700-043D-49D5-B141-A3340EF1BADD}" destId="{EF6350D9-6E37-424B-BBF2-505BBF7535DE}" srcOrd="0" destOrd="1" presId="urn:microsoft.com/office/officeart/2005/8/layout/vList2"/>
    <dgm:cxn modelId="{E40FE0FE-1571-4BCC-8B0A-5B2A90EB5724}" type="presOf" srcId="{6BDE98FC-8F24-4C20-9CA7-72247EA3A0E4}" destId="{EF6350D9-6E37-424B-BBF2-505BBF7535DE}" srcOrd="0" destOrd="0" presId="urn:microsoft.com/office/officeart/2005/8/layout/vList2"/>
    <dgm:cxn modelId="{6CE83CFD-59A8-4566-8354-B47AD98DE764}" type="presParOf" srcId="{1559216B-6491-4DF2-B6E6-49F93F98CE8E}" destId="{414CE1A1-4A67-4578-B60B-B8A23153EC47}" srcOrd="0" destOrd="0" presId="urn:microsoft.com/office/officeart/2005/8/layout/vList2"/>
    <dgm:cxn modelId="{32AD512C-DC64-4C21-B753-FDABD5226494}" type="presParOf" srcId="{1559216B-6491-4DF2-B6E6-49F93F98CE8E}" destId="{A7CD68F2-77AC-42A5-881F-4604D646A180}" srcOrd="1" destOrd="0" presId="urn:microsoft.com/office/officeart/2005/8/layout/vList2"/>
    <dgm:cxn modelId="{AE5B7C4C-17FD-409B-9335-282F259FBF93}" type="presParOf" srcId="{1559216B-6491-4DF2-B6E6-49F93F98CE8E}" destId="{4674D892-5880-49E8-8328-72D8B0CA9A5A}" srcOrd="2" destOrd="0" presId="urn:microsoft.com/office/officeart/2005/8/layout/vList2"/>
    <dgm:cxn modelId="{39650AF4-2364-49BB-9168-77E6B8A08099}" type="presParOf" srcId="{1559216B-6491-4DF2-B6E6-49F93F98CE8E}" destId="{EF6350D9-6E37-424B-BBF2-505BBF7535DE}" srcOrd="3" destOrd="0" presId="urn:microsoft.com/office/officeart/2005/8/layout/vList2"/>
    <dgm:cxn modelId="{B97159A6-A587-4AEF-A58D-60054DEA3CE5}" type="presParOf" srcId="{1559216B-6491-4DF2-B6E6-49F93F98CE8E}" destId="{CEBE9B3E-3052-4C43-A4F7-C34E57C820B3}" srcOrd="4" destOrd="0" presId="urn:microsoft.com/office/officeart/2005/8/layout/vList2"/>
    <dgm:cxn modelId="{8BEB4383-695A-414C-B779-2FFE96028364}" type="presParOf" srcId="{1559216B-6491-4DF2-B6E6-49F93F98CE8E}" destId="{3D9A0F50-C3E8-4CF0-B136-5485826AF7B9}" srcOrd="5" destOrd="0" presId="urn:microsoft.com/office/officeart/2005/8/layout/vList2"/>
    <dgm:cxn modelId="{358A60E7-635D-473F-A40B-F7CC3EDE4881}" type="presParOf" srcId="{1559216B-6491-4DF2-B6E6-49F93F98CE8E}" destId="{682984CA-EF06-4F28-9835-EA1413B30196}"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6C735CF-B470-4B13-AF47-68B7EA1688D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17ED221D-E4F4-47C6-A7AA-793D2DD12B35}">
      <dgm:prSet custT="1"/>
      <dgm:spPr/>
      <dgm:t>
        <a:bodyPr/>
        <a:lstStyle/>
        <a:p>
          <a:r>
            <a:rPr lang="en-US" sz="2000" b="0" i="0" dirty="0">
              <a:solidFill>
                <a:schemeClr val="tx1"/>
              </a:solidFill>
            </a:rPr>
            <a:t>(1) Advance </a:t>
          </a:r>
          <a:r>
            <a:rPr lang="en-US" sz="2000" b="1" i="0" dirty="0">
              <a:solidFill>
                <a:schemeClr val="tx1"/>
              </a:solidFill>
            </a:rPr>
            <a:t>Research, Systems and Guidance </a:t>
          </a:r>
          <a:r>
            <a:rPr lang="en-US" sz="2000" b="0" i="0" dirty="0">
              <a:solidFill>
                <a:schemeClr val="tx1"/>
              </a:solidFill>
            </a:rPr>
            <a:t>that Support Climate Adaptation in Region 2</a:t>
          </a:r>
          <a:endParaRPr lang="en-US" sz="2000" dirty="0">
            <a:solidFill>
              <a:schemeClr val="tx1"/>
            </a:solidFill>
          </a:endParaRPr>
        </a:p>
      </dgm:t>
    </dgm:pt>
    <dgm:pt modelId="{80AC2806-E022-4B96-913E-00F9F10B3129}" type="parTrans" cxnId="{79AC12EF-563F-4D7D-99B1-6D96FB2E8AF9}">
      <dgm:prSet/>
      <dgm:spPr/>
      <dgm:t>
        <a:bodyPr/>
        <a:lstStyle/>
        <a:p>
          <a:endParaRPr lang="en-US"/>
        </a:p>
      </dgm:t>
    </dgm:pt>
    <dgm:pt modelId="{E4D3CA80-8A0E-448A-A7C4-C1B3BE9337C7}" type="sibTrans" cxnId="{79AC12EF-563F-4D7D-99B1-6D96FB2E8AF9}">
      <dgm:prSet/>
      <dgm:spPr/>
      <dgm:t>
        <a:bodyPr/>
        <a:lstStyle/>
        <a:p>
          <a:endParaRPr lang="en-US"/>
        </a:p>
      </dgm:t>
    </dgm:pt>
    <dgm:pt modelId="{5F818F13-0088-4A15-BCEA-77261272507C}">
      <dgm:prSet custT="1"/>
      <dgm:spPr/>
      <dgm:t>
        <a:bodyPr/>
        <a:lstStyle/>
        <a:p>
          <a:r>
            <a:rPr lang="en-US" sz="2000" b="0" i="0" dirty="0">
              <a:solidFill>
                <a:schemeClr val="tx1"/>
              </a:solidFill>
            </a:rPr>
            <a:t>(2) </a:t>
          </a:r>
          <a:r>
            <a:rPr lang="en-US" sz="2000" b="1" i="0" dirty="0">
              <a:solidFill>
                <a:schemeClr val="tx1"/>
              </a:solidFill>
            </a:rPr>
            <a:t>Leverage Partnerships </a:t>
          </a:r>
          <a:r>
            <a:rPr lang="en-US" sz="2000" b="0" i="0" dirty="0">
              <a:solidFill>
                <a:schemeClr val="tx1"/>
              </a:solidFill>
            </a:rPr>
            <a:t>&amp; Conduct Outreach to Enhance Adaptative Capacity in Region 2</a:t>
          </a:r>
          <a:endParaRPr lang="en-US" sz="2000" dirty="0">
            <a:solidFill>
              <a:schemeClr val="tx1"/>
            </a:solidFill>
          </a:endParaRPr>
        </a:p>
      </dgm:t>
    </dgm:pt>
    <dgm:pt modelId="{FFD03870-EAA8-4587-A814-5D2B5ADCBB4B}" type="parTrans" cxnId="{68663B03-5E8D-44C8-935C-8A8FFD343887}">
      <dgm:prSet/>
      <dgm:spPr/>
      <dgm:t>
        <a:bodyPr/>
        <a:lstStyle/>
        <a:p>
          <a:endParaRPr lang="en-US"/>
        </a:p>
      </dgm:t>
    </dgm:pt>
    <dgm:pt modelId="{2E986E9D-86A7-4595-80C9-72A22340046A}" type="sibTrans" cxnId="{68663B03-5E8D-44C8-935C-8A8FFD343887}">
      <dgm:prSet/>
      <dgm:spPr/>
      <dgm:t>
        <a:bodyPr/>
        <a:lstStyle/>
        <a:p>
          <a:endParaRPr lang="en-US"/>
        </a:p>
      </dgm:t>
    </dgm:pt>
    <dgm:pt modelId="{AD502CCA-3015-431A-B5AB-378E9B763827}">
      <dgm:prSet/>
      <dgm:spPr/>
      <dgm:t>
        <a:bodyPr/>
        <a:lstStyle/>
        <a:p>
          <a:r>
            <a:rPr lang="en-US" b="0" i="0" dirty="0">
              <a:solidFill>
                <a:schemeClr val="tx1"/>
              </a:solidFill>
            </a:rPr>
            <a:t>(3) Seek Opportunities to Integrate </a:t>
          </a:r>
          <a:r>
            <a:rPr lang="en-US" b="1" i="0" dirty="0">
              <a:solidFill>
                <a:schemeClr val="tx1"/>
              </a:solidFill>
            </a:rPr>
            <a:t>Environmental Justice </a:t>
          </a:r>
          <a:r>
            <a:rPr lang="en-US" b="0" i="0" dirty="0">
              <a:solidFill>
                <a:schemeClr val="tx1"/>
              </a:solidFill>
            </a:rPr>
            <a:t>into Each of Our Climate Change Priority Actions, to the Extent Practicable </a:t>
          </a:r>
          <a:endParaRPr lang="en-US" dirty="0">
            <a:solidFill>
              <a:schemeClr val="tx1"/>
            </a:solidFill>
          </a:endParaRPr>
        </a:p>
      </dgm:t>
    </dgm:pt>
    <dgm:pt modelId="{89E2F79C-3534-4C9E-B787-F7DE5D3884B5}" type="parTrans" cxnId="{9EFDA371-3CFF-4FA8-9A5F-BEFB1C75CF6C}">
      <dgm:prSet/>
      <dgm:spPr/>
      <dgm:t>
        <a:bodyPr/>
        <a:lstStyle/>
        <a:p>
          <a:endParaRPr lang="en-US"/>
        </a:p>
      </dgm:t>
    </dgm:pt>
    <dgm:pt modelId="{AA90444C-717A-4E60-8164-B3ADD21FC8AC}" type="sibTrans" cxnId="{9EFDA371-3CFF-4FA8-9A5F-BEFB1C75CF6C}">
      <dgm:prSet/>
      <dgm:spPr/>
      <dgm:t>
        <a:bodyPr/>
        <a:lstStyle/>
        <a:p>
          <a:endParaRPr lang="en-US"/>
        </a:p>
      </dgm:t>
    </dgm:pt>
    <dgm:pt modelId="{8D1B45ED-72F5-4C25-9066-E23B9B3F5E24}">
      <dgm:prSet/>
      <dgm:spPr/>
      <dgm:t>
        <a:bodyPr/>
        <a:lstStyle/>
        <a:p>
          <a:r>
            <a:rPr lang="en-US" b="0" i="0" dirty="0">
              <a:solidFill>
                <a:schemeClr val="tx1"/>
              </a:solidFill>
            </a:rPr>
            <a:t>(4) Support the Use of Disaster Recovery Resources and </a:t>
          </a:r>
          <a:r>
            <a:rPr lang="en-US" b="1" i="0" dirty="0">
              <a:solidFill>
                <a:schemeClr val="tx1"/>
              </a:solidFill>
            </a:rPr>
            <a:t>Disaster Mitigation Strategies </a:t>
          </a:r>
          <a:r>
            <a:rPr lang="en-US" b="0" i="0" dirty="0">
              <a:solidFill>
                <a:schemeClr val="tx1"/>
              </a:solidFill>
            </a:rPr>
            <a:t>to Assist States, Local Communities, Indian Nations, and Territories in their Adaptation Efforts</a:t>
          </a:r>
          <a:endParaRPr lang="en-US" dirty="0">
            <a:solidFill>
              <a:schemeClr val="tx1"/>
            </a:solidFill>
          </a:endParaRPr>
        </a:p>
      </dgm:t>
    </dgm:pt>
    <dgm:pt modelId="{17848CC3-13D7-46D3-8C3F-291E55C3D1A0}" type="parTrans" cxnId="{D303F68D-57B2-486F-A051-94B0913EC657}">
      <dgm:prSet/>
      <dgm:spPr/>
      <dgm:t>
        <a:bodyPr/>
        <a:lstStyle/>
        <a:p>
          <a:endParaRPr lang="en-US"/>
        </a:p>
      </dgm:t>
    </dgm:pt>
    <dgm:pt modelId="{554F7B9D-46B8-4FD7-A8D4-C76573353584}" type="sibTrans" cxnId="{D303F68D-57B2-486F-A051-94B0913EC657}">
      <dgm:prSet/>
      <dgm:spPr/>
      <dgm:t>
        <a:bodyPr/>
        <a:lstStyle/>
        <a:p>
          <a:endParaRPr lang="en-US"/>
        </a:p>
      </dgm:t>
    </dgm:pt>
    <dgm:pt modelId="{C2833055-6169-494F-9E39-60AB5FAD57D5}">
      <dgm:prSet/>
      <dgm:spPr/>
      <dgm:t>
        <a:bodyPr/>
        <a:lstStyle/>
        <a:p>
          <a:r>
            <a:rPr lang="en-US" b="0" i="0" dirty="0">
              <a:solidFill>
                <a:schemeClr val="tx1"/>
              </a:solidFill>
            </a:rPr>
            <a:t>(5) Use our</a:t>
          </a:r>
          <a:r>
            <a:rPr lang="en-US" b="1" i="0" dirty="0">
              <a:solidFill>
                <a:schemeClr val="tx1"/>
              </a:solidFill>
            </a:rPr>
            <a:t> Regulatory Authorities</a:t>
          </a:r>
          <a:r>
            <a:rPr lang="en-US" b="0" i="0" dirty="0">
              <a:solidFill>
                <a:schemeClr val="tx1"/>
              </a:solidFill>
            </a:rPr>
            <a:t> to Expand our Work on Climate Adaptation </a:t>
          </a:r>
          <a:endParaRPr lang="en-US" dirty="0">
            <a:solidFill>
              <a:schemeClr val="tx1"/>
            </a:solidFill>
          </a:endParaRPr>
        </a:p>
      </dgm:t>
    </dgm:pt>
    <dgm:pt modelId="{5DC8E22B-6121-4F9F-BB37-01022EDC32FC}" type="parTrans" cxnId="{284CFCD5-47B0-406D-9E0A-D06E3C0DFE72}">
      <dgm:prSet/>
      <dgm:spPr/>
      <dgm:t>
        <a:bodyPr/>
        <a:lstStyle/>
        <a:p>
          <a:endParaRPr lang="en-US"/>
        </a:p>
      </dgm:t>
    </dgm:pt>
    <dgm:pt modelId="{99EF114D-A469-4497-8005-99D61A826ED9}" type="sibTrans" cxnId="{284CFCD5-47B0-406D-9E0A-D06E3C0DFE72}">
      <dgm:prSet/>
      <dgm:spPr/>
      <dgm:t>
        <a:bodyPr/>
        <a:lstStyle/>
        <a:p>
          <a:endParaRPr lang="en-US"/>
        </a:p>
      </dgm:t>
    </dgm:pt>
    <dgm:pt modelId="{5030A7A8-F6B0-438F-80D5-19B446560846}">
      <dgm:prSet/>
      <dgm:spPr/>
      <dgm:t>
        <a:bodyPr/>
        <a:lstStyle/>
        <a:p>
          <a:r>
            <a:rPr lang="en-US" b="0" i="0" dirty="0">
              <a:solidFill>
                <a:schemeClr val="tx1"/>
              </a:solidFill>
            </a:rPr>
            <a:t>(6) Maintaining </a:t>
          </a:r>
          <a:r>
            <a:rPr lang="en-US" b="1" i="0" dirty="0">
              <a:solidFill>
                <a:schemeClr val="tx1"/>
              </a:solidFill>
            </a:rPr>
            <a:t>Region 2 Facilities </a:t>
          </a:r>
          <a:r>
            <a:rPr lang="en-US" b="0" i="0" dirty="0">
              <a:solidFill>
                <a:schemeClr val="tx1"/>
              </a:solidFill>
            </a:rPr>
            <a:t>and Operations </a:t>
          </a:r>
          <a:endParaRPr lang="en-US" dirty="0">
            <a:solidFill>
              <a:schemeClr val="tx1"/>
            </a:solidFill>
          </a:endParaRPr>
        </a:p>
      </dgm:t>
    </dgm:pt>
    <dgm:pt modelId="{118EFAA5-2DB6-491B-B896-601D09BBB828}" type="parTrans" cxnId="{140C7CC8-CEB1-48A6-B584-2DEEE80E0561}">
      <dgm:prSet/>
      <dgm:spPr/>
      <dgm:t>
        <a:bodyPr/>
        <a:lstStyle/>
        <a:p>
          <a:endParaRPr lang="en-US"/>
        </a:p>
      </dgm:t>
    </dgm:pt>
    <dgm:pt modelId="{7DC00374-7032-48BE-BC76-DCB73E86CFE4}" type="sibTrans" cxnId="{140C7CC8-CEB1-48A6-B584-2DEEE80E0561}">
      <dgm:prSet/>
      <dgm:spPr/>
      <dgm:t>
        <a:bodyPr/>
        <a:lstStyle/>
        <a:p>
          <a:endParaRPr lang="en-US"/>
        </a:p>
      </dgm:t>
    </dgm:pt>
    <dgm:pt modelId="{15D7453C-DACC-4022-8691-77F3D6E0E93D}" type="pres">
      <dgm:prSet presAssocID="{56C735CF-B470-4B13-AF47-68B7EA1688D2}" presName="diagram" presStyleCnt="0">
        <dgm:presLayoutVars>
          <dgm:dir/>
          <dgm:resizeHandles val="exact"/>
        </dgm:presLayoutVars>
      </dgm:prSet>
      <dgm:spPr/>
    </dgm:pt>
    <dgm:pt modelId="{DFE270FC-C2F8-420C-B672-21ADC96644FC}" type="pres">
      <dgm:prSet presAssocID="{17ED221D-E4F4-47C6-A7AA-793D2DD12B35}" presName="node" presStyleLbl="node1" presStyleIdx="0" presStyleCnt="6">
        <dgm:presLayoutVars>
          <dgm:bulletEnabled val="1"/>
        </dgm:presLayoutVars>
      </dgm:prSet>
      <dgm:spPr/>
    </dgm:pt>
    <dgm:pt modelId="{22983B44-0017-47D3-B7E2-8CD596CD0C7C}" type="pres">
      <dgm:prSet presAssocID="{E4D3CA80-8A0E-448A-A7C4-C1B3BE9337C7}" presName="sibTrans" presStyleCnt="0"/>
      <dgm:spPr/>
    </dgm:pt>
    <dgm:pt modelId="{A38992BB-AE43-493B-AD31-EEE7A0AED944}" type="pres">
      <dgm:prSet presAssocID="{5F818F13-0088-4A15-BCEA-77261272507C}" presName="node" presStyleLbl="node1" presStyleIdx="1" presStyleCnt="6">
        <dgm:presLayoutVars>
          <dgm:bulletEnabled val="1"/>
        </dgm:presLayoutVars>
      </dgm:prSet>
      <dgm:spPr/>
    </dgm:pt>
    <dgm:pt modelId="{0E1C74F3-894D-4C9C-8E0E-25D4DF70C727}" type="pres">
      <dgm:prSet presAssocID="{2E986E9D-86A7-4595-80C9-72A22340046A}" presName="sibTrans" presStyleCnt="0"/>
      <dgm:spPr/>
    </dgm:pt>
    <dgm:pt modelId="{BBCB8AE0-3923-404B-A801-0495D3E722C2}" type="pres">
      <dgm:prSet presAssocID="{AD502CCA-3015-431A-B5AB-378E9B763827}" presName="node" presStyleLbl="node1" presStyleIdx="2" presStyleCnt="6">
        <dgm:presLayoutVars>
          <dgm:bulletEnabled val="1"/>
        </dgm:presLayoutVars>
      </dgm:prSet>
      <dgm:spPr/>
    </dgm:pt>
    <dgm:pt modelId="{8AF807D7-DF4A-4872-9F72-055022695F65}" type="pres">
      <dgm:prSet presAssocID="{AA90444C-717A-4E60-8164-B3ADD21FC8AC}" presName="sibTrans" presStyleCnt="0"/>
      <dgm:spPr/>
    </dgm:pt>
    <dgm:pt modelId="{2D6E0F15-ADE1-4E67-B6EC-102E883C1320}" type="pres">
      <dgm:prSet presAssocID="{8D1B45ED-72F5-4C25-9066-E23B9B3F5E24}" presName="node" presStyleLbl="node1" presStyleIdx="3" presStyleCnt="6">
        <dgm:presLayoutVars>
          <dgm:bulletEnabled val="1"/>
        </dgm:presLayoutVars>
      </dgm:prSet>
      <dgm:spPr/>
    </dgm:pt>
    <dgm:pt modelId="{F8E52F12-B9A5-4B1B-A237-E79DEF791A21}" type="pres">
      <dgm:prSet presAssocID="{554F7B9D-46B8-4FD7-A8D4-C76573353584}" presName="sibTrans" presStyleCnt="0"/>
      <dgm:spPr/>
    </dgm:pt>
    <dgm:pt modelId="{E31E02EC-22E0-4715-9D31-5AA22A214A8C}" type="pres">
      <dgm:prSet presAssocID="{C2833055-6169-494F-9E39-60AB5FAD57D5}" presName="node" presStyleLbl="node1" presStyleIdx="4" presStyleCnt="6">
        <dgm:presLayoutVars>
          <dgm:bulletEnabled val="1"/>
        </dgm:presLayoutVars>
      </dgm:prSet>
      <dgm:spPr/>
    </dgm:pt>
    <dgm:pt modelId="{B6C06F38-FE6B-49CA-8BE6-2A60DC4603AD}" type="pres">
      <dgm:prSet presAssocID="{99EF114D-A469-4497-8005-99D61A826ED9}" presName="sibTrans" presStyleCnt="0"/>
      <dgm:spPr/>
    </dgm:pt>
    <dgm:pt modelId="{93FB52CD-BB5B-4565-9172-897DDD035869}" type="pres">
      <dgm:prSet presAssocID="{5030A7A8-F6B0-438F-80D5-19B446560846}" presName="node" presStyleLbl="node1" presStyleIdx="5" presStyleCnt="6">
        <dgm:presLayoutVars>
          <dgm:bulletEnabled val="1"/>
        </dgm:presLayoutVars>
      </dgm:prSet>
      <dgm:spPr/>
    </dgm:pt>
  </dgm:ptLst>
  <dgm:cxnLst>
    <dgm:cxn modelId="{68663B03-5E8D-44C8-935C-8A8FFD343887}" srcId="{56C735CF-B470-4B13-AF47-68B7EA1688D2}" destId="{5F818F13-0088-4A15-BCEA-77261272507C}" srcOrd="1" destOrd="0" parTransId="{FFD03870-EAA8-4587-A814-5D2B5ADCBB4B}" sibTransId="{2E986E9D-86A7-4595-80C9-72A22340046A}"/>
    <dgm:cxn modelId="{C1198C0E-F966-49E9-8B81-E54988F9D68A}" type="presOf" srcId="{C2833055-6169-494F-9E39-60AB5FAD57D5}" destId="{E31E02EC-22E0-4715-9D31-5AA22A214A8C}" srcOrd="0" destOrd="0" presId="urn:microsoft.com/office/officeart/2005/8/layout/default"/>
    <dgm:cxn modelId="{5BC5AD34-ABB0-4AE8-A51D-5BD91EFE791A}" type="presOf" srcId="{5F818F13-0088-4A15-BCEA-77261272507C}" destId="{A38992BB-AE43-493B-AD31-EEE7A0AED944}" srcOrd="0" destOrd="0" presId="urn:microsoft.com/office/officeart/2005/8/layout/default"/>
    <dgm:cxn modelId="{9EFDA371-3CFF-4FA8-9A5F-BEFB1C75CF6C}" srcId="{56C735CF-B470-4B13-AF47-68B7EA1688D2}" destId="{AD502CCA-3015-431A-B5AB-378E9B763827}" srcOrd="2" destOrd="0" parTransId="{89E2F79C-3534-4C9E-B787-F7DE5D3884B5}" sibTransId="{AA90444C-717A-4E60-8164-B3ADD21FC8AC}"/>
    <dgm:cxn modelId="{C5BEFD85-87E1-47CE-8E52-80E718F0FF29}" type="presOf" srcId="{5030A7A8-F6B0-438F-80D5-19B446560846}" destId="{93FB52CD-BB5B-4565-9172-897DDD035869}" srcOrd="0" destOrd="0" presId="urn:microsoft.com/office/officeart/2005/8/layout/default"/>
    <dgm:cxn modelId="{D303F68D-57B2-486F-A051-94B0913EC657}" srcId="{56C735CF-B470-4B13-AF47-68B7EA1688D2}" destId="{8D1B45ED-72F5-4C25-9066-E23B9B3F5E24}" srcOrd="3" destOrd="0" parTransId="{17848CC3-13D7-46D3-8C3F-291E55C3D1A0}" sibTransId="{554F7B9D-46B8-4FD7-A8D4-C76573353584}"/>
    <dgm:cxn modelId="{5CEB05AC-2702-4B29-9CD2-B1FB5B4CDC22}" type="presOf" srcId="{AD502CCA-3015-431A-B5AB-378E9B763827}" destId="{BBCB8AE0-3923-404B-A801-0495D3E722C2}" srcOrd="0" destOrd="0" presId="urn:microsoft.com/office/officeart/2005/8/layout/default"/>
    <dgm:cxn modelId="{3DDA0AB7-CCCA-4E4A-B1FD-A50A12E73A33}" type="presOf" srcId="{8D1B45ED-72F5-4C25-9066-E23B9B3F5E24}" destId="{2D6E0F15-ADE1-4E67-B6EC-102E883C1320}" srcOrd="0" destOrd="0" presId="urn:microsoft.com/office/officeart/2005/8/layout/default"/>
    <dgm:cxn modelId="{140C7CC8-CEB1-48A6-B584-2DEEE80E0561}" srcId="{56C735CF-B470-4B13-AF47-68B7EA1688D2}" destId="{5030A7A8-F6B0-438F-80D5-19B446560846}" srcOrd="5" destOrd="0" parTransId="{118EFAA5-2DB6-491B-B896-601D09BBB828}" sibTransId="{7DC00374-7032-48BE-BC76-DCB73E86CFE4}"/>
    <dgm:cxn modelId="{284CFCD5-47B0-406D-9E0A-D06E3C0DFE72}" srcId="{56C735CF-B470-4B13-AF47-68B7EA1688D2}" destId="{C2833055-6169-494F-9E39-60AB5FAD57D5}" srcOrd="4" destOrd="0" parTransId="{5DC8E22B-6121-4F9F-BB37-01022EDC32FC}" sibTransId="{99EF114D-A469-4497-8005-99D61A826ED9}"/>
    <dgm:cxn modelId="{2EEC89E6-C52B-467A-836D-0299633EFB84}" type="presOf" srcId="{56C735CF-B470-4B13-AF47-68B7EA1688D2}" destId="{15D7453C-DACC-4022-8691-77F3D6E0E93D}" srcOrd="0" destOrd="0" presId="urn:microsoft.com/office/officeart/2005/8/layout/default"/>
    <dgm:cxn modelId="{79AC12EF-563F-4D7D-99B1-6D96FB2E8AF9}" srcId="{56C735CF-B470-4B13-AF47-68B7EA1688D2}" destId="{17ED221D-E4F4-47C6-A7AA-793D2DD12B35}" srcOrd="0" destOrd="0" parTransId="{80AC2806-E022-4B96-913E-00F9F10B3129}" sibTransId="{E4D3CA80-8A0E-448A-A7C4-C1B3BE9337C7}"/>
    <dgm:cxn modelId="{DC5F76F1-7EF4-491B-9448-F73D11CE4830}" type="presOf" srcId="{17ED221D-E4F4-47C6-A7AA-793D2DD12B35}" destId="{DFE270FC-C2F8-420C-B672-21ADC96644FC}" srcOrd="0" destOrd="0" presId="urn:microsoft.com/office/officeart/2005/8/layout/default"/>
    <dgm:cxn modelId="{63B9ECE3-33C8-46C6-A5E6-EC356F49FD57}" type="presParOf" srcId="{15D7453C-DACC-4022-8691-77F3D6E0E93D}" destId="{DFE270FC-C2F8-420C-B672-21ADC96644FC}" srcOrd="0" destOrd="0" presId="urn:microsoft.com/office/officeart/2005/8/layout/default"/>
    <dgm:cxn modelId="{D1D02B9B-2883-487C-B846-FFF855C08376}" type="presParOf" srcId="{15D7453C-DACC-4022-8691-77F3D6E0E93D}" destId="{22983B44-0017-47D3-B7E2-8CD596CD0C7C}" srcOrd="1" destOrd="0" presId="urn:microsoft.com/office/officeart/2005/8/layout/default"/>
    <dgm:cxn modelId="{363AE604-41E5-45FA-A505-06C5E4B64BA4}" type="presParOf" srcId="{15D7453C-DACC-4022-8691-77F3D6E0E93D}" destId="{A38992BB-AE43-493B-AD31-EEE7A0AED944}" srcOrd="2" destOrd="0" presId="urn:microsoft.com/office/officeart/2005/8/layout/default"/>
    <dgm:cxn modelId="{E9285CFB-15E8-4A63-BE19-8271A4E52122}" type="presParOf" srcId="{15D7453C-DACC-4022-8691-77F3D6E0E93D}" destId="{0E1C74F3-894D-4C9C-8E0E-25D4DF70C727}" srcOrd="3" destOrd="0" presId="urn:microsoft.com/office/officeart/2005/8/layout/default"/>
    <dgm:cxn modelId="{FE4B2A4B-B16E-4A4D-8ADD-00C0C6E0E32A}" type="presParOf" srcId="{15D7453C-DACC-4022-8691-77F3D6E0E93D}" destId="{BBCB8AE0-3923-404B-A801-0495D3E722C2}" srcOrd="4" destOrd="0" presId="urn:microsoft.com/office/officeart/2005/8/layout/default"/>
    <dgm:cxn modelId="{2FF33838-82FD-47C2-8EEF-9BF006097FDF}" type="presParOf" srcId="{15D7453C-DACC-4022-8691-77F3D6E0E93D}" destId="{8AF807D7-DF4A-4872-9F72-055022695F65}" srcOrd="5" destOrd="0" presId="urn:microsoft.com/office/officeart/2005/8/layout/default"/>
    <dgm:cxn modelId="{0A8DA068-F5E8-4764-AF90-90926AB4D7B3}" type="presParOf" srcId="{15D7453C-DACC-4022-8691-77F3D6E0E93D}" destId="{2D6E0F15-ADE1-4E67-B6EC-102E883C1320}" srcOrd="6" destOrd="0" presId="urn:microsoft.com/office/officeart/2005/8/layout/default"/>
    <dgm:cxn modelId="{0A695585-F45E-4D26-8F5B-D4919855A8D5}" type="presParOf" srcId="{15D7453C-DACC-4022-8691-77F3D6E0E93D}" destId="{F8E52F12-B9A5-4B1B-A237-E79DEF791A21}" srcOrd="7" destOrd="0" presId="urn:microsoft.com/office/officeart/2005/8/layout/default"/>
    <dgm:cxn modelId="{F10CA9F1-C9F9-447B-8FB9-1473A10C0D36}" type="presParOf" srcId="{15D7453C-DACC-4022-8691-77F3D6E0E93D}" destId="{E31E02EC-22E0-4715-9D31-5AA22A214A8C}" srcOrd="8" destOrd="0" presId="urn:microsoft.com/office/officeart/2005/8/layout/default"/>
    <dgm:cxn modelId="{82BFE62C-15F6-468B-959A-19F5B8A41E66}" type="presParOf" srcId="{15D7453C-DACC-4022-8691-77F3D6E0E93D}" destId="{B6C06F38-FE6B-49CA-8BE6-2A60DC4603AD}" srcOrd="9" destOrd="0" presId="urn:microsoft.com/office/officeart/2005/8/layout/default"/>
    <dgm:cxn modelId="{80E5BA28-9920-45D5-93F2-1BE49D69E786}" type="presParOf" srcId="{15D7453C-DACC-4022-8691-77F3D6E0E93D}" destId="{93FB52CD-BB5B-4565-9172-897DDD035869}"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4CD3C8-AD66-4D58-84B6-0F48027185E5}">
      <dsp:nvSpPr>
        <dsp:cNvPr id="0" name=""/>
        <dsp:cNvSpPr/>
      </dsp:nvSpPr>
      <dsp:spPr>
        <a:xfrm>
          <a:off x="9660665" y="2075637"/>
          <a:ext cx="91440" cy="698007"/>
        </a:xfrm>
        <a:custGeom>
          <a:avLst/>
          <a:gdLst/>
          <a:ahLst/>
          <a:cxnLst/>
          <a:rect l="0" t="0" r="0" b="0"/>
          <a:pathLst>
            <a:path>
              <a:moveTo>
                <a:pt x="45720" y="0"/>
              </a:moveTo>
              <a:lnTo>
                <a:pt x="45720" y="698007"/>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984FA7-552D-4098-887D-7CF04D5B26C5}">
      <dsp:nvSpPr>
        <dsp:cNvPr id="0" name=""/>
        <dsp:cNvSpPr/>
      </dsp:nvSpPr>
      <dsp:spPr>
        <a:xfrm>
          <a:off x="5638814" y="2075637"/>
          <a:ext cx="91440" cy="698007"/>
        </a:xfrm>
        <a:custGeom>
          <a:avLst/>
          <a:gdLst/>
          <a:ahLst/>
          <a:cxnLst/>
          <a:rect l="0" t="0" r="0" b="0"/>
          <a:pathLst>
            <a:path>
              <a:moveTo>
                <a:pt x="45720" y="0"/>
              </a:moveTo>
              <a:lnTo>
                <a:pt x="45720" y="698007"/>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26394F-085B-4AE2-B146-5D8E1EAA3AF1}">
      <dsp:nvSpPr>
        <dsp:cNvPr id="0" name=""/>
        <dsp:cNvSpPr/>
      </dsp:nvSpPr>
      <dsp:spPr>
        <a:xfrm>
          <a:off x="1616964" y="2075637"/>
          <a:ext cx="91440" cy="698007"/>
        </a:xfrm>
        <a:custGeom>
          <a:avLst/>
          <a:gdLst/>
          <a:ahLst/>
          <a:cxnLst/>
          <a:rect l="0" t="0" r="0" b="0"/>
          <a:pathLst>
            <a:path>
              <a:moveTo>
                <a:pt x="45720" y="0"/>
              </a:moveTo>
              <a:lnTo>
                <a:pt x="45720" y="698007"/>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87F9A3B-80F8-4773-BF3E-4AB58629C932}">
      <dsp:nvSpPr>
        <dsp:cNvPr id="0" name=""/>
        <dsp:cNvSpPr/>
      </dsp:nvSpPr>
      <dsp:spPr>
        <a:xfrm>
          <a:off x="763" y="413716"/>
          <a:ext cx="3323843" cy="16619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t>National Clean Investment Fund Competition: $14 Billion</a:t>
          </a:r>
        </a:p>
      </dsp:txBody>
      <dsp:txXfrm>
        <a:off x="763" y="413716"/>
        <a:ext cx="3323843" cy="1661921"/>
      </dsp:txXfrm>
    </dsp:sp>
    <dsp:sp modelId="{AF35D086-E8D7-44FE-95C7-9384DCA62549}">
      <dsp:nvSpPr>
        <dsp:cNvPr id="0" name=""/>
        <dsp:cNvSpPr/>
      </dsp:nvSpPr>
      <dsp:spPr>
        <a:xfrm>
          <a:off x="763" y="2773645"/>
          <a:ext cx="3323843" cy="16619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dirty="0"/>
            <a:t>Fund 2-3 National Nonprofits to partner with private capital providers to deliver financing</a:t>
          </a:r>
        </a:p>
      </dsp:txBody>
      <dsp:txXfrm>
        <a:off x="763" y="2773645"/>
        <a:ext cx="3323843" cy="1661921"/>
      </dsp:txXfrm>
    </dsp:sp>
    <dsp:sp modelId="{8D152A23-EB61-4D0C-9983-E9A019171B4D}">
      <dsp:nvSpPr>
        <dsp:cNvPr id="0" name=""/>
        <dsp:cNvSpPr/>
      </dsp:nvSpPr>
      <dsp:spPr>
        <a:xfrm>
          <a:off x="4022613" y="413716"/>
          <a:ext cx="3323843" cy="16619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t>Clean Communities Investment Accelerator Competition: $6 Billion</a:t>
          </a:r>
        </a:p>
      </dsp:txBody>
      <dsp:txXfrm>
        <a:off x="4022613" y="413716"/>
        <a:ext cx="3323843" cy="1661921"/>
      </dsp:txXfrm>
    </dsp:sp>
    <dsp:sp modelId="{BB8791A0-D9C9-48EE-97C3-66BDB8C62336}">
      <dsp:nvSpPr>
        <dsp:cNvPr id="0" name=""/>
        <dsp:cNvSpPr/>
      </dsp:nvSpPr>
      <dsp:spPr>
        <a:xfrm>
          <a:off x="4022613" y="2773645"/>
          <a:ext cx="3323843" cy="16619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t>Fund 2-7 hub nonprofits to rapidly build clean financing capacity</a:t>
          </a:r>
        </a:p>
      </dsp:txBody>
      <dsp:txXfrm>
        <a:off x="4022613" y="2773645"/>
        <a:ext cx="3323843" cy="1661921"/>
      </dsp:txXfrm>
    </dsp:sp>
    <dsp:sp modelId="{5FBC7614-D5CA-4655-B1FC-760FEDC2F42A}">
      <dsp:nvSpPr>
        <dsp:cNvPr id="0" name=""/>
        <dsp:cNvSpPr/>
      </dsp:nvSpPr>
      <dsp:spPr>
        <a:xfrm>
          <a:off x="8044463" y="413716"/>
          <a:ext cx="3323843" cy="166192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t>Solar for All Competition: $7 Billion</a:t>
          </a:r>
        </a:p>
      </dsp:txBody>
      <dsp:txXfrm>
        <a:off x="8044463" y="413716"/>
        <a:ext cx="3323843" cy="1661921"/>
      </dsp:txXfrm>
    </dsp:sp>
    <dsp:sp modelId="{7A205381-EB73-45D0-8675-3BC9E2CD6425}">
      <dsp:nvSpPr>
        <dsp:cNvPr id="0" name=""/>
        <dsp:cNvSpPr/>
      </dsp:nvSpPr>
      <dsp:spPr>
        <a:xfrm>
          <a:off x="8044463" y="2773645"/>
          <a:ext cx="3323843" cy="1661921"/>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 tIns="13335" rIns="13335" bIns="13335" numCol="1" spcCol="1270" anchor="ctr" anchorCtr="0">
          <a:noAutofit/>
        </a:bodyPr>
        <a:lstStyle/>
        <a:p>
          <a:pPr marL="0" lvl="0" indent="0" algn="ctr" defTabSz="933450">
            <a:lnSpc>
              <a:spcPct val="90000"/>
            </a:lnSpc>
            <a:spcBef>
              <a:spcPct val="0"/>
            </a:spcBef>
            <a:spcAft>
              <a:spcPct val="35000"/>
            </a:spcAft>
            <a:buNone/>
          </a:pPr>
          <a:r>
            <a:rPr lang="en-US" sz="2100" kern="1200"/>
            <a:t>Up to 60 grants to state, Tribal governments, municipalities and nonprofits to expand low-income and disadvantaged community solar</a:t>
          </a:r>
        </a:p>
      </dsp:txBody>
      <dsp:txXfrm>
        <a:off x="8044463" y="2773645"/>
        <a:ext cx="3323843" cy="16619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775FCF-4982-4338-9E05-1481C55BC45B}">
      <dsp:nvSpPr>
        <dsp:cNvPr id="0" name=""/>
        <dsp:cNvSpPr/>
      </dsp:nvSpPr>
      <dsp:spPr>
        <a:xfrm>
          <a:off x="0" y="617787"/>
          <a:ext cx="5117098" cy="5117098"/>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l" defTabSz="1866900">
            <a:lnSpc>
              <a:spcPct val="90000"/>
            </a:lnSpc>
            <a:spcBef>
              <a:spcPct val="0"/>
            </a:spcBef>
            <a:spcAft>
              <a:spcPct val="35000"/>
            </a:spcAft>
            <a:buNone/>
          </a:pPr>
          <a:endParaRPr lang="en-US" sz="4200" kern="1200"/>
        </a:p>
        <a:p>
          <a:pPr marL="285750" lvl="1" indent="-285750" algn="l" defTabSz="1466850">
            <a:lnSpc>
              <a:spcPct val="90000"/>
            </a:lnSpc>
            <a:spcBef>
              <a:spcPct val="0"/>
            </a:spcBef>
            <a:spcAft>
              <a:spcPct val="15000"/>
            </a:spcAft>
            <a:buChar char="•"/>
          </a:pPr>
          <a:r>
            <a:rPr lang="en-US" sz="3300" kern="1200"/>
            <a:t>DIRECTS EPA REGIONAL OFFICES TO UPDATE THEIR 2014 ADAPTATION PLANS</a:t>
          </a:r>
        </a:p>
      </dsp:txBody>
      <dsp:txXfrm>
        <a:off x="749382" y="1367169"/>
        <a:ext cx="3618334" cy="36183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ADAF27-E559-4C54-9E5A-6C9BAD3F1859}">
      <dsp:nvSpPr>
        <dsp:cNvPr id="0" name=""/>
        <dsp:cNvSpPr/>
      </dsp:nvSpPr>
      <dsp:spPr>
        <a:xfrm>
          <a:off x="0" y="293989"/>
          <a:ext cx="4468091" cy="23470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4790" tIns="224790" rIns="224790" bIns="224790" numCol="1" spcCol="1270" anchor="ctr" anchorCtr="0">
          <a:noAutofit/>
        </a:bodyPr>
        <a:lstStyle/>
        <a:p>
          <a:pPr marL="0" lvl="0" indent="0" algn="l" defTabSz="2622550">
            <a:lnSpc>
              <a:spcPct val="90000"/>
            </a:lnSpc>
            <a:spcBef>
              <a:spcPct val="0"/>
            </a:spcBef>
            <a:spcAft>
              <a:spcPct val="35000"/>
            </a:spcAft>
            <a:buNone/>
          </a:pPr>
          <a:r>
            <a:rPr lang="en-US" sz="5900" kern="1200" dirty="0"/>
            <a:t>Released Oct. 6, 2022</a:t>
          </a:r>
        </a:p>
      </dsp:txBody>
      <dsp:txXfrm>
        <a:off x="114572" y="408561"/>
        <a:ext cx="4238947" cy="211787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4CE1A1-4A67-4578-B60B-B8A23153EC47}">
      <dsp:nvSpPr>
        <dsp:cNvPr id="0" name=""/>
        <dsp:cNvSpPr/>
      </dsp:nvSpPr>
      <dsp:spPr>
        <a:xfrm>
          <a:off x="0" y="112808"/>
          <a:ext cx="7186527" cy="87395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i="1" kern="1200"/>
            <a:t>Vulnerability Assessment</a:t>
          </a:r>
          <a:r>
            <a:rPr lang="en-US" sz="2200" kern="1200"/>
            <a:t> </a:t>
          </a:r>
        </a:p>
      </dsp:txBody>
      <dsp:txXfrm>
        <a:off x="42663" y="155471"/>
        <a:ext cx="7101201" cy="788627"/>
      </dsp:txXfrm>
    </dsp:sp>
    <dsp:sp modelId="{A7CD68F2-77AC-42A5-881F-4604D646A180}">
      <dsp:nvSpPr>
        <dsp:cNvPr id="0" name=""/>
        <dsp:cNvSpPr/>
      </dsp:nvSpPr>
      <dsp:spPr>
        <a:xfrm>
          <a:off x="0" y="986761"/>
          <a:ext cx="7186527" cy="10701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17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dirty="0"/>
            <a:t>Regional vulnerabilities (e.g., rising seas, high temperatures, tidal flooding)</a:t>
          </a:r>
        </a:p>
        <a:p>
          <a:pPr marL="171450" lvl="1" indent="-171450" algn="l" defTabSz="755650">
            <a:lnSpc>
              <a:spcPct val="90000"/>
            </a:lnSpc>
            <a:spcBef>
              <a:spcPct val="0"/>
            </a:spcBef>
            <a:spcAft>
              <a:spcPct val="20000"/>
            </a:spcAft>
            <a:buChar char="•"/>
          </a:pPr>
          <a:r>
            <a:rPr lang="en-US" sz="1700" kern="1200" dirty="0"/>
            <a:t>Programmatic vulnerabilities (e.g., Air Quality; Water Quality; Contaminated Sites; Use and Exposure to Toxic Chemicals; EPA’s Facilities and Operations) </a:t>
          </a:r>
        </a:p>
      </dsp:txBody>
      <dsp:txXfrm>
        <a:off x="0" y="986761"/>
        <a:ext cx="7186527" cy="1070190"/>
      </dsp:txXfrm>
    </dsp:sp>
    <dsp:sp modelId="{4674D892-5880-49E8-8328-72D8B0CA9A5A}">
      <dsp:nvSpPr>
        <dsp:cNvPr id="0" name=""/>
        <dsp:cNvSpPr/>
      </dsp:nvSpPr>
      <dsp:spPr>
        <a:xfrm>
          <a:off x="0" y="2056951"/>
          <a:ext cx="7186527" cy="87395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i="1" kern="1200"/>
            <a:t>44 Regional Priority Actions </a:t>
          </a:r>
          <a:r>
            <a:rPr lang="en-US" sz="2200" kern="1200"/>
            <a:t> </a:t>
          </a:r>
        </a:p>
      </dsp:txBody>
      <dsp:txXfrm>
        <a:off x="42663" y="2099614"/>
        <a:ext cx="7101201" cy="788627"/>
      </dsp:txXfrm>
    </dsp:sp>
    <dsp:sp modelId="{EF6350D9-6E37-424B-BBF2-505BBF7535DE}">
      <dsp:nvSpPr>
        <dsp:cNvPr id="0" name=""/>
        <dsp:cNvSpPr/>
      </dsp:nvSpPr>
      <dsp:spPr>
        <a:xfrm>
          <a:off x="0" y="2930905"/>
          <a:ext cx="7186527" cy="8880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172" tIns="27940" rIns="156464" bIns="27940" numCol="1" spcCol="1270" anchor="t" anchorCtr="0">
          <a:noAutofit/>
        </a:bodyPr>
        <a:lstStyle/>
        <a:p>
          <a:pPr marL="171450" lvl="1" indent="-171450" algn="l" defTabSz="755650">
            <a:lnSpc>
              <a:spcPct val="90000"/>
            </a:lnSpc>
            <a:spcBef>
              <a:spcPct val="0"/>
            </a:spcBef>
            <a:spcAft>
              <a:spcPct val="20000"/>
            </a:spcAft>
            <a:buChar char="•"/>
          </a:pPr>
          <a:r>
            <a:rPr lang="en-US" sz="1700" kern="1200"/>
            <a:t>Reduce Impacts/Adapt to the identified programmatic vulnerabilities</a:t>
          </a:r>
        </a:p>
        <a:p>
          <a:pPr marL="171450" lvl="1" indent="-171450" algn="l" defTabSz="755650">
            <a:lnSpc>
              <a:spcPct val="90000"/>
            </a:lnSpc>
            <a:spcBef>
              <a:spcPct val="0"/>
            </a:spcBef>
            <a:spcAft>
              <a:spcPct val="20000"/>
            </a:spcAft>
            <a:buChar char="•"/>
          </a:pPr>
          <a:r>
            <a:rPr lang="en-US" sz="1700" kern="1200"/>
            <a:t>Categorized into six thematic areas </a:t>
          </a:r>
        </a:p>
        <a:p>
          <a:pPr marL="171450" lvl="1" indent="-171450" algn="l" defTabSz="755650">
            <a:lnSpc>
              <a:spcPct val="90000"/>
            </a:lnSpc>
            <a:spcBef>
              <a:spcPct val="0"/>
            </a:spcBef>
            <a:spcAft>
              <a:spcPct val="20000"/>
            </a:spcAft>
            <a:buChar char="•"/>
          </a:pPr>
          <a:r>
            <a:rPr lang="en-US" sz="1700" kern="1200"/>
            <a:t>Majority require additional resources</a:t>
          </a:r>
        </a:p>
      </dsp:txBody>
      <dsp:txXfrm>
        <a:off x="0" y="2930905"/>
        <a:ext cx="7186527" cy="888030"/>
      </dsp:txXfrm>
    </dsp:sp>
    <dsp:sp modelId="{CEBE9B3E-3052-4C43-A4F7-C34E57C820B3}">
      <dsp:nvSpPr>
        <dsp:cNvPr id="0" name=""/>
        <dsp:cNvSpPr/>
      </dsp:nvSpPr>
      <dsp:spPr>
        <a:xfrm>
          <a:off x="0" y="3818935"/>
          <a:ext cx="7186527" cy="87395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i="1" kern="1200"/>
            <a:t>Training EPA Staff  </a:t>
          </a:r>
          <a:endParaRPr lang="en-US" sz="2200" kern="1200"/>
        </a:p>
      </dsp:txBody>
      <dsp:txXfrm>
        <a:off x="42663" y="3861598"/>
        <a:ext cx="7101201" cy="788627"/>
      </dsp:txXfrm>
    </dsp:sp>
    <dsp:sp modelId="{682984CA-EF06-4F28-9835-EA1413B30196}">
      <dsp:nvSpPr>
        <dsp:cNvPr id="0" name=""/>
        <dsp:cNvSpPr/>
      </dsp:nvSpPr>
      <dsp:spPr>
        <a:xfrm>
          <a:off x="0" y="4756248"/>
          <a:ext cx="7186527" cy="87395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i="1" kern="1200"/>
            <a:t>Science Needs - to better inform climate change adaptation efforts</a:t>
          </a:r>
          <a:endParaRPr lang="en-US" sz="2200" kern="1200"/>
        </a:p>
      </dsp:txBody>
      <dsp:txXfrm>
        <a:off x="42663" y="4798911"/>
        <a:ext cx="7101201" cy="78862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E270FC-C2F8-420C-B672-21ADC96644FC}">
      <dsp:nvSpPr>
        <dsp:cNvPr id="0" name=""/>
        <dsp:cNvSpPr/>
      </dsp:nvSpPr>
      <dsp:spPr>
        <a:xfrm>
          <a:off x="0" y="40290"/>
          <a:ext cx="3286125" cy="197167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solidFill>
                <a:schemeClr val="tx1"/>
              </a:solidFill>
            </a:rPr>
            <a:t>(1) Advance </a:t>
          </a:r>
          <a:r>
            <a:rPr lang="en-US" sz="2000" b="1" i="0" kern="1200" dirty="0">
              <a:solidFill>
                <a:schemeClr val="tx1"/>
              </a:solidFill>
            </a:rPr>
            <a:t>Research, Systems and Guidance </a:t>
          </a:r>
          <a:r>
            <a:rPr lang="en-US" sz="2000" b="0" i="0" kern="1200" dirty="0">
              <a:solidFill>
                <a:schemeClr val="tx1"/>
              </a:solidFill>
            </a:rPr>
            <a:t>that Support Climate Adaptation in Region 2</a:t>
          </a:r>
          <a:endParaRPr lang="en-US" sz="2000" kern="1200" dirty="0">
            <a:solidFill>
              <a:schemeClr val="tx1"/>
            </a:solidFill>
          </a:endParaRPr>
        </a:p>
      </dsp:txBody>
      <dsp:txXfrm>
        <a:off x="0" y="40290"/>
        <a:ext cx="3286125" cy="1971675"/>
      </dsp:txXfrm>
    </dsp:sp>
    <dsp:sp modelId="{A38992BB-AE43-493B-AD31-EEE7A0AED944}">
      <dsp:nvSpPr>
        <dsp:cNvPr id="0" name=""/>
        <dsp:cNvSpPr/>
      </dsp:nvSpPr>
      <dsp:spPr>
        <a:xfrm>
          <a:off x="3614737" y="40290"/>
          <a:ext cx="3286125" cy="197167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solidFill>
                <a:schemeClr val="tx1"/>
              </a:solidFill>
            </a:rPr>
            <a:t>(2) </a:t>
          </a:r>
          <a:r>
            <a:rPr lang="en-US" sz="2000" b="1" i="0" kern="1200" dirty="0">
              <a:solidFill>
                <a:schemeClr val="tx1"/>
              </a:solidFill>
            </a:rPr>
            <a:t>Leverage Partnerships </a:t>
          </a:r>
          <a:r>
            <a:rPr lang="en-US" sz="2000" b="0" i="0" kern="1200" dirty="0">
              <a:solidFill>
                <a:schemeClr val="tx1"/>
              </a:solidFill>
            </a:rPr>
            <a:t>&amp; Conduct Outreach to Enhance Adaptative Capacity in Region 2</a:t>
          </a:r>
          <a:endParaRPr lang="en-US" sz="2000" kern="1200" dirty="0">
            <a:solidFill>
              <a:schemeClr val="tx1"/>
            </a:solidFill>
          </a:endParaRPr>
        </a:p>
      </dsp:txBody>
      <dsp:txXfrm>
        <a:off x="3614737" y="40290"/>
        <a:ext cx="3286125" cy="1971675"/>
      </dsp:txXfrm>
    </dsp:sp>
    <dsp:sp modelId="{BBCB8AE0-3923-404B-A801-0495D3E722C2}">
      <dsp:nvSpPr>
        <dsp:cNvPr id="0" name=""/>
        <dsp:cNvSpPr/>
      </dsp:nvSpPr>
      <dsp:spPr>
        <a:xfrm>
          <a:off x="7229475" y="40290"/>
          <a:ext cx="3286125" cy="1971675"/>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tx1"/>
              </a:solidFill>
            </a:rPr>
            <a:t>(3) Seek Opportunities to Integrate </a:t>
          </a:r>
          <a:r>
            <a:rPr lang="en-US" sz="1800" b="1" i="0" kern="1200" dirty="0">
              <a:solidFill>
                <a:schemeClr val="tx1"/>
              </a:solidFill>
            </a:rPr>
            <a:t>Environmental Justice </a:t>
          </a:r>
          <a:r>
            <a:rPr lang="en-US" sz="1800" b="0" i="0" kern="1200" dirty="0">
              <a:solidFill>
                <a:schemeClr val="tx1"/>
              </a:solidFill>
            </a:rPr>
            <a:t>into Each of Our Climate Change Priority Actions, to the Extent Practicable </a:t>
          </a:r>
          <a:endParaRPr lang="en-US" sz="1800" kern="1200" dirty="0">
            <a:solidFill>
              <a:schemeClr val="tx1"/>
            </a:solidFill>
          </a:endParaRPr>
        </a:p>
      </dsp:txBody>
      <dsp:txXfrm>
        <a:off x="7229475" y="40290"/>
        <a:ext cx="3286125" cy="1971675"/>
      </dsp:txXfrm>
    </dsp:sp>
    <dsp:sp modelId="{2D6E0F15-ADE1-4E67-B6EC-102E883C1320}">
      <dsp:nvSpPr>
        <dsp:cNvPr id="0" name=""/>
        <dsp:cNvSpPr/>
      </dsp:nvSpPr>
      <dsp:spPr>
        <a:xfrm>
          <a:off x="0" y="2340578"/>
          <a:ext cx="3286125" cy="1971675"/>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tx1"/>
              </a:solidFill>
            </a:rPr>
            <a:t>(4) Support the Use of Disaster Recovery Resources and </a:t>
          </a:r>
          <a:r>
            <a:rPr lang="en-US" sz="1800" b="1" i="0" kern="1200" dirty="0">
              <a:solidFill>
                <a:schemeClr val="tx1"/>
              </a:solidFill>
            </a:rPr>
            <a:t>Disaster Mitigation Strategies </a:t>
          </a:r>
          <a:r>
            <a:rPr lang="en-US" sz="1800" b="0" i="0" kern="1200" dirty="0">
              <a:solidFill>
                <a:schemeClr val="tx1"/>
              </a:solidFill>
            </a:rPr>
            <a:t>to Assist States, Local Communities, Indian Nations, and Territories in their Adaptation Efforts</a:t>
          </a:r>
          <a:endParaRPr lang="en-US" sz="1800" kern="1200" dirty="0">
            <a:solidFill>
              <a:schemeClr val="tx1"/>
            </a:solidFill>
          </a:endParaRPr>
        </a:p>
      </dsp:txBody>
      <dsp:txXfrm>
        <a:off x="0" y="2340578"/>
        <a:ext cx="3286125" cy="1971675"/>
      </dsp:txXfrm>
    </dsp:sp>
    <dsp:sp modelId="{E31E02EC-22E0-4715-9D31-5AA22A214A8C}">
      <dsp:nvSpPr>
        <dsp:cNvPr id="0" name=""/>
        <dsp:cNvSpPr/>
      </dsp:nvSpPr>
      <dsp:spPr>
        <a:xfrm>
          <a:off x="3614737" y="2340578"/>
          <a:ext cx="3286125" cy="1971675"/>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tx1"/>
              </a:solidFill>
            </a:rPr>
            <a:t>(5) Use our</a:t>
          </a:r>
          <a:r>
            <a:rPr lang="en-US" sz="1800" b="1" i="0" kern="1200" dirty="0">
              <a:solidFill>
                <a:schemeClr val="tx1"/>
              </a:solidFill>
            </a:rPr>
            <a:t> Regulatory Authorities</a:t>
          </a:r>
          <a:r>
            <a:rPr lang="en-US" sz="1800" b="0" i="0" kern="1200" dirty="0">
              <a:solidFill>
                <a:schemeClr val="tx1"/>
              </a:solidFill>
            </a:rPr>
            <a:t> to Expand our Work on Climate Adaptation </a:t>
          </a:r>
          <a:endParaRPr lang="en-US" sz="1800" kern="1200" dirty="0">
            <a:solidFill>
              <a:schemeClr val="tx1"/>
            </a:solidFill>
          </a:endParaRPr>
        </a:p>
      </dsp:txBody>
      <dsp:txXfrm>
        <a:off x="3614737" y="2340578"/>
        <a:ext cx="3286125" cy="1971675"/>
      </dsp:txXfrm>
    </dsp:sp>
    <dsp:sp modelId="{93FB52CD-BB5B-4565-9172-897DDD035869}">
      <dsp:nvSpPr>
        <dsp:cNvPr id="0" name=""/>
        <dsp:cNvSpPr/>
      </dsp:nvSpPr>
      <dsp:spPr>
        <a:xfrm>
          <a:off x="7229475" y="2340578"/>
          <a:ext cx="3286125" cy="197167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i="0" kern="1200" dirty="0">
              <a:solidFill>
                <a:schemeClr val="tx1"/>
              </a:solidFill>
            </a:rPr>
            <a:t>(6) Maintaining </a:t>
          </a:r>
          <a:r>
            <a:rPr lang="en-US" sz="1800" b="1" i="0" kern="1200" dirty="0">
              <a:solidFill>
                <a:schemeClr val="tx1"/>
              </a:solidFill>
            </a:rPr>
            <a:t>Region 2 Facilities </a:t>
          </a:r>
          <a:r>
            <a:rPr lang="en-US" sz="1800" b="0" i="0" kern="1200" dirty="0">
              <a:solidFill>
                <a:schemeClr val="tx1"/>
              </a:solidFill>
            </a:rPr>
            <a:t>and Operations </a:t>
          </a:r>
          <a:endParaRPr lang="en-US" sz="1800" kern="1200" dirty="0">
            <a:solidFill>
              <a:schemeClr val="tx1"/>
            </a:solidFill>
          </a:endParaRPr>
        </a:p>
      </dsp:txBody>
      <dsp:txXfrm>
        <a:off x="7229475" y="2340578"/>
        <a:ext cx="3286125" cy="1971675"/>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E301BB-E930-436F-B46C-E5564A166091}" type="datetimeFigureOut">
              <a:rPr lang="en-US" smtClean="0"/>
              <a:t>5/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BB9EC4-F694-48EC-80D6-9485A3CCC118}" type="slidenum">
              <a:rPr lang="en-US" smtClean="0"/>
              <a:t>‹#›</a:t>
            </a:fld>
            <a:endParaRPr lang="en-US"/>
          </a:p>
        </p:txBody>
      </p:sp>
    </p:spTree>
    <p:extLst>
      <p:ext uri="{BB962C8B-B14F-4D97-AF65-F5344CB8AC3E}">
        <p14:creationId xmlns:p14="http://schemas.microsoft.com/office/powerpoint/2010/main" val="14553331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1</a:t>
            </a:fld>
            <a:endParaRPr lang="en-US"/>
          </a:p>
        </p:txBody>
      </p:sp>
    </p:spTree>
    <p:extLst>
      <p:ext uri="{BB962C8B-B14F-4D97-AF65-F5344CB8AC3E}">
        <p14:creationId xmlns:p14="http://schemas.microsoft.com/office/powerpoint/2010/main" val="874475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16</a:t>
            </a:fld>
            <a:endParaRPr lang="en-US"/>
          </a:p>
        </p:txBody>
      </p:sp>
    </p:spTree>
    <p:extLst>
      <p:ext uri="{BB962C8B-B14F-4D97-AF65-F5344CB8AC3E}">
        <p14:creationId xmlns:p14="http://schemas.microsoft.com/office/powerpoint/2010/main" val="2841706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17</a:t>
            </a:fld>
            <a:endParaRPr lang="en-US"/>
          </a:p>
        </p:txBody>
      </p:sp>
    </p:spTree>
    <p:extLst>
      <p:ext uri="{BB962C8B-B14F-4D97-AF65-F5344CB8AC3E}">
        <p14:creationId xmlns:p14="http://schemas.microsoft.com/office/powerpoint/2010/main" val="2552007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18</a:t>
            </a:fld>
            <a:endParaRPr lang="en-US"/>
          </a:p>
        </p:txBody>
      </p:sp>
    </p:spTree>
    <p:extLst>
      <p:ext uri="{BB962C8B-B14F-4D97-AF65-F5344CB8AC3E}">
        <p14:creationId xmlns:p14="http://schemas.microsoft.com/office/powerpoint/2010/main" val="40652018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24E9D511-8406-407B-A358-D7A4E220C7F2}" type="slidenum">
              <a:rPr lang="en-US" smtClean="0"/>
              <a:t>22</a:t>
            </a:fld>
            <a:endParaRPr lang="en-US"/>
          </a:p>
        </p:txBody>
      </p:sp>
    </p:spTree>
    <p:extLst>
      <p:ext uri="{BB962C8B-B14F-4D97-AF65-F5344CB8AC3E}">
        <p14:creationId xmlns:p14="http://schemas.microsoft.com/office/powerpoint/2010/main" val="1034389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108896-C7EA-47A8-868C-5CB2413EB50B}" type="slidenum">
              <a:rPr lang="en-US" smtClean="0"/>
              <a:t>23</a:t>
            </a:fld>
            <a:endParaRPr lang="en-US"/>
          </a:p>
        </p:txBody>
      </p:sp>
    </p:spTree>
    <p:extLst>
      <p:ext uri="{BB962C8B-B14F-4D97-AF65-F5344CB8AC3E}">
        <p14:creationId xmlns:p14="http://schemas.microsoft.com/office/powerpoint/2010/main" val="17677522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E9D511-8406-407B-A358-D7A4E220C7F2}" type="slidenum">
              <a:rPr lang="en-US" smtClean="0"/>
              <a:t>24</a:t>
            </a:fld>
            <a:endParaRPr lang="en-US"/>
          </a:p>
        </p:txBody>
      </p:sp>
    </p:spTree>
    <p:extLst>
      <p:ext uri="{BB962C8B-B14F-4D97-AF65-F5344CB8AC3E}">
        <p14:creationId xmlns:p14="http://schemas.microsoft.com/office/powerpoint/2010/main" val="30180715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cs typeface="Calibri"/>
            </a:endParaRPr>
          </a:p>
        </p:txBody>
      </p:sp>
      <p:sp>
        <p:nvSpPr>
          <p:cNvPr id="4" name="Slide Number Placeholder 3"/>
          <p:cNvSpPr>
            <a:spLocks noGrp="1"/>
          </p:cNvSpPr>
          <p:nvPr>
            <p:ph type="sldNum" sz="quarter" idx="5"/>
          </p:nvPr>
        </p:nvSpPr>
        <p:spPr/>
        <p:txBody>
          <a:bodyPr/>
          <a:lstStyle/>
          <a:p>
            <a:fld id="{48108896-C7EA-47A8-868C-5CB2413EB50B}" type="slidenum">
              <a:rPr lang="en-US" smtClean="0"/>
              <a:t>25</a:t>
            </a:fld>
            <a:endParaRPr lang="en-US"/>
          </a:p>
        </p:txBody>
      </p:sp>
    </p:spTree>
    <p:extLst>
      <p:ext uri="{BB962C8B-B14F-4D97-AF65-F5344CB8AC3E}">
        <p14:creationId xmlns:p14="http://schemas.microsoft.com/office/powerpoint/2010/main" val="40961372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48108896-C7EA-47A8-868C-5CB2413EB50B}" type="slidenum">
              <a:rPr lang="en-US" smtClean="0"/>
              <a:t>26</a:t>
            </a:fld>
            <a:endParaRPr lang="en-US"/>
          </a:p>
        </p:txBody>
      </p:sp>
    </p:spTree>
    <p:extLst>
      <p:ext uri="{BB962C8B-B14F-4D97-AF65-F5344CB8AC3E}">
        <p14:creationId xmlns:p14="http://schemas.microsoft.com/office/powerpoint/2010/main" val="20393539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p:txBody>
      </p:sp>
      <p:sp>
        <p:nvSpPr>
          <p:cNvPr id="4" name="Slide Number Placeholder 3"/>
          <p:cNvSpPr>
            <a:spLocks noGrp="1"/>
          </p:cNvSpPr>
          <p:nvPr>
            <p:ph type="sldNum" sz="quarter" idx="5"/>
          </p:nvPr>
        </p:nvSpPr>
        <p:spPr/>
        <p:txBody>
          <a:bodyPr/>
          <a:lstStyle/>
          <a:p>
            <a:fld id="{48108896-C7EA-47A8-868C-5CB2413EB50B}" type="slidenum">
              <a:rPr lang="en-US" smtClean="0"/>
              <a:t>27</a:t>
            </a:fld>
            <a:endParaRPr lang="en-US"/>
          </a:p>
        </p:txBody>
      </p:sp>
    </p:spTree>
    <p:extLst>
      <p:ext uri="{BB962C8B-B14F-4D97-AF65-F5344CB8AC3E}">
        <p14:creationId xmlns:p14="http://schemas.microsoft.com/office/powerpoint/2010/main" val="11108134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28</a:t>
            </a:fld>
            <a:endParaRPr lang="en-US"/>
          </a:p>
        </p:txBody>
      </p:sp>
    </p:spTree>
    <p:extLst>
      <p:ext uri="{BB962C8B-B14F-4D97-AF65-F5344CB8AC3E}">
        <p14:creationId xmlns:p14="http://schemas.microsoft.com/office/powerpoint/2010/main" val="36782140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BFEA5-92FB-46D7-B97B-85ED574D9892}" type="slidenum">
              <a:rPr lang="en-US" smtClean="0"/>
              <a:t>3</a:t>
            </a:fld>
            <a:endParaRPr lang="en-US"/>
          </a:p>
        </p:txBody>
      </p:sp>
    </p:spTree>
    <p:extLst>
      <p:ext uri="{BB962C8B-B14F-4D97-AF65-F5344CB8AC3E}">
        <p14:creationId xmlns:p14="http://schemas.microsoft.com/office/powerpoint/2010/main" val="2259781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5EBFEA5-92FB-46D7-B97B-85ED574D9892}" type="slidenum">
              <a:rPr lang="en-US" smtClean="0"/>
              <a:t>5</a:t>
            </a:fld>
            <a:endParaRPr lang="en-US"/>
          </a:p>
        </p:txBody>
      </p:sp>
    </p:spTree>
    <p:extLst>
      <p:ext uri="{BB962C8B-B14F-4D97-AF65-F5344CB8AC3E}">
        <p14:creationId xmlns:p14="http://schemas.microsoft.com/office/powerpoint/2010/main" val="3446819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7</a:t>
            </a:fld>
            <a:endParaRPr lang="en-US"/>
          </a:p>
        </p:txBody>
      </p:sp>
    </p:spTree>
    <p:extLst>
      <p:ext uri="{BB962C8B-B14F-4D97-AF65-F5344CB8AC3E}">
        <p14:creationId xmlns:p14="http://schemas.microsoft.com/office/powerpoint/2010/main" val="2032600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AB9E94-8349-47F1-B922-ECB05895E9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534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1786DB-46C2-4715-879D-703947BEFF1A}" type="slidenum">
              <a:rPr lang="en-US" smtClean="0"/>
              <a:t>9</a:t>
            </a:fld>
            <a:endParaRPr lang="en-US"/>
          </a:p>
        </p:txBody>
      </p:sp>
    </p:spTree>
    <p:extLst>
      <p:ext uri="{BB962C8B-B14F-4D97-AF65-F5344CB8AC3E}">
        <p14:creationId xmlns:p14="http://schemas.microsoft.com/office/powerpoint/2010/main" val="13248009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10</a:t>
            </a:fld>
            <a:endParaRPr lang="en-US"/>
          </a:p>
        </p:txBody>
      </p:sp>
    </p:spTree>
    <p:extLst>
      <p:ext uri="{BB962C8B-B14F-4D97-AF65-F5344CB8AC3E}">
        <p14:creationId xmlns:p14="http://schemas.microsoft.com/office/powerpoint/2010/main" val="13764139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14</a:t>
            </a:fld>
            <a:endParaRPr lang="en-US"/>
          </a:p>
        </p:txBody>
      </p:sp>
    </p:spTree>
    <p:extLst>
      <p:ext uri="{BB962C8B-B14F-4D97-AF65-F5344CB8AC3E}">
        <p14:creationId xmlns:p14="http://schemas.microsoft.com/office/powerpoint/2010/main" val="1851080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BB9EC4-F694-48EC-80D6-9485A3CCC118}" type="slidenum">
              <a:rPr lang="en-US" smtClean="0"/>
              <a:t>15</a:t>
            </a:fld>
            <a:endParaRPr lang="en-US"/>
          </a:p>
        </p:txBody>
      </p:sp>
    </p:spTree>
    <p:extLst>
      <p:ext uri="{BB962C8B-B14F-4D97-AF65-F5344CB8AC3E}">
        <p14:creationId xmlns:p14="http://schemas.microsoft.com/office/powerpoint/2010/main" val="13763715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4AAE0-7913-4A24-92A3-043224E72A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255DC19-FF26-4FF4-9C85-64615C81882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CCD7CE0-0E23-42B6-9A51-9B5D34D541CE}"/>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5" name="Footer Placeholder 4">
            <a:extLst>
              <a:ext uri="{FF2B5EF4-FFF2-40B4-BE49-F238E27FC236}">
                <a16:creationId xmlns:a16="http://schemas.microsoft.com/office/drawing/2014/main" id="{7E0274C9-D267-4933-A6DB-658D256602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1E8490-831F-4808-8978-356F1D042608}"/>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17471515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8A27B-9355-48B5-9482-1A1FDD48C32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0605FE-322C-49BB-8137-776D8C69FAA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1FFAC4-1B9F-4652-8359-B2BABC059000}"/>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5" name="Footer Placeholder 4">
            <a:extLst>
              <a:ext uri="{FF2B5EF4-FFF2-40B4-BE49-F238E27FC236}">
                <a16:creationId xmlns:a16="http://schemas.microsoft.com/office/drawing/2014/main" id="{0683D0AF-A329-43F6-B785-D3EC3B3713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DFDFE9-C7F4-4669-BAA9-090740713A8E}"/>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5399672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19B043-8D4B-475A-B830-E23BFE1C899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5441770-DC21-49D1-B42D-A02296BF9F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3D7885-3D33-4121-9E79-F0A682E01A43}"/>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5" name="Footer Placeholder 4">
            <a:extLst>
              <a:ext uri="{FF2B5EF4-FFF2-40B4-BE49-F238E27FC236}">
                <a16:creationId xmlns:a16="http://schemas.microsoft.com/office/drawing/2014/main" id="{FC39FB5D-7596-4268-AD6B-AD476C9546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3B629D-37AA-465F-96B7-B68F9B28C22B}"/>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1458253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_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CBEF134C-80B4-4BD2-B2B6-7916D3FD517C}" type="datetime1">
              <a:rPr lang="en-US" smtClean="0"/>
              <a:t>5/16/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r>
              <a:rPr lang="en-US"/>
              <a:t>DELIBERATIVE // INTERNAL USE ONLY</a:t>
            </a:r>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1627321" y="339645"/>
            <a:ext cx="10134369"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1627322" y="1507066"/>
            <a:ext cx="10134371"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78CECE2-CD4D-4A44-927A-53FFE158AF1C}"/>
              </a:ext>
            </a:extLst>
          </p:cNvPr>
          <p:cNvCxnSpPr>
            <a:cxnSpLocks/>
          </p:cNvCxnSpPr>
          <p:nvPr userDrawn="1"/>
        </p:nvCxnSpPr>
        <p:spPr>
          <a:xfrm>
            <a:off x="1134319" y="0"/>
            <a:ext cx="0" cy="6858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59181934-061C-4AC6-8A9F-648207E15B54}"/>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22001346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_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062DFD1-09C0-6845-8219-0846F32EDEFA}"/>
              </a:ext>
            </a:extLst>
          </p:cNvPr>
          <p:cNvSpPr>
            <a:spLocks noGrp="1"/>
          </p:cNvSpPr>
          <p:nvPr>
            <p:ph type="dt" sz="half" idx="10"/>
          </p:nvPr>
        </p:nvSpPr>
        <p:spPr/>
        <p:txBody>
          <a:bodyPr/>
          <a:lstStyle/>
          <a:p>
            <a:fld id="{BE404716-8CCE-4675-AB1C-82E3E7C9B0AF}" type="datetime1">
              <a:rPr lang="en-US" smtClean="0"/>
              <a:t>5/16/2023</a:t>
            </a:fld>
            <a:endParaRPr lang="en-US"/>
          </a:p>
        </p:txBody>
      </p:sp>
      <p:sp>
        <p:nvSpPr>
          <p:cNvPr id="4" name="Footer Placeholder 3">
            <a:extLst>
              <a:ext uri="{FF2B5EF4-FFF2-40B4-BE49-F238E27FC236}">
                <a16:creationId xmlns:a16="http://schemas.microsoft.com/office/drawing/2014/main" id="{CB7D7355-C4D0-1F4D-A365-E4AF1D8FED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2771307-5F5C-D847-B837-8C60542C4B66}"/>
              </a:ext>
            </a:extLst>
          </p:cNvPr>
          <p:cNvSpPr>
            <a:spLocks noGrp="1"/>
          </p:cNvSpPr>
          <p:nvPr>
            <p:ph type="sldNum" sz="quarter" idx="12"/>
          </p:nvPr>
        </p:nvSpPr>
        <p:spPr/>
        <p:txBody>
          <a:bodyPr/>
          <a:lstStyle/>
          <a:p>
            <a:fld id="{31FEFF75-79D2-EE46-877B-299D1510E681}" type="slidenum">
              <a:rPr lang="en-US" smtClean="0"/>
              <a:t>‹#›</a:t>
            </a:fld>
            <a:endParaRPr lang="en-US"/>
          </a:p>
        </p:txBody>
      </p:sp>
      <p:sp>
        <p:nvSpPr>
          <p:cNvPr id="7" name="Title 1">
            <a:extLst>
              <a:ext uri="{FF2B5EF4-FFF2-40B4-BE49-F238E27FC236}">
                <a16:creationId xmlns:a16="http://schemas.microsoft.com/office/drawing/2014/main" id="{9B04801C-3319-AC43-9484-8377A4F8F253}"/>
              </a:ext>
            </a:extLst>
          </p:cNvPr>
          <p:cNvSpPr>
            <a:spLocks noGrp="1"/>
          </p:cNvSpPr>
          <p:nvPr>
            <p:ph type="ctrTitle" hasCustomPrompt="1"/>
          </p:nvPr>
        </p:nvSpPr>
        <p:spPr>
          <a:xfrm>
            <a:off x="392623" y="339645"/>
            <a:ext cx="11369068" cy="1002552"/>
          </a:xfrm>
        </p:spPr>
        <p:txBody>
          <a:bodyPr lIns="0" rIns="0" anchor="b">
            <a:noAutofit/>
          </a:bodyPr>
          <a:lstStyle>
            <a:lvl1pPr algn="l">
              <a:defRPr sz="4500" b="0" i="0" cap="all" baseline="0">
                <a:solidFill>
                  <a:schemeClr val="accent4">
                    <a:lumMod val="75000"/>
                  </a:schemeClr>
                </a:solidFill>
                <a:latin typeface="Sagona ExtraLight" panose="02020303050505020204" pitchFamily="18" charset="0"/>
              </a:defRPr>
            </a:lvl1pPr>
          </a:lstStyle>
          <a:p>
            <a:r>
              <a:rPr lang="en-US"/>
              <a:t>TITLE GOE HERE</a:t>
            </a:r>
          </a:p>
        </p:txBody>
      </p:sp>
      <p:sp>
        <p:nvSpPr>
          <p:cNvPr id="11" name="Text Placeholder 10">
            <a:extLst>
              <a:ext uri="{FF2B5EF4-FFF2-40B4-BE49-F238E27FC236}">
                <a16:creationId xmlns:a16="http://schemas.microsoft.com/office/drawing/2014/main" id="{3D67D640-AB06-EE4B-868D-F46A30705F62}"/>
              </a:ext>
            </a:extLst>
          </p:cNvPr>
          <p:cNvSpPr>
            <a:spLocks noGrp="1"/>
          </p:cNvSpPr>
          <p:nvPr>
            <p:ph type="body" sz="quarter" idx="14"/>
          </p:nvPr>
        </p:nvSpPr>
        <p:spPr>
          <a:xfrm>
            <a:off x="392624" y="1507066"/>
            <a:ext cx="11369070" cy="4849283"/>
          </a:xfrm>
        </p:spPr>
        <p:txBody>
          <a:bodyPr lIns="0" rIns="0" anchor="t">
            <a:normAutofit/>
          </a:bodyPr>
          <a:lstStyle>
            <a:lvl1pPr marL="0" indent="0">
              <a:lnSpc>
                <a:spcPct val="100000"/>
              </a:lnSpc>
              <a:buNone/>
              <a:defRPr sz="1600">
                <a:latin typeface="+mj-lt"/>
              </a:defRPr>
            </a:lvl1pPr>
            <a:lvl2pPr marL="457200" indent="0">
              <a:lnSpc>
                <a:spcPct val="100000"/>
              </a:lnSpc>
              <a:buNone/>
              <a:defRPr sz="1600">
                <a:latin typeface="+mj-lt"/>
              </a:defRPr>
            </a:lvl2pPr>
            <a:lvl3pPr marL="914400" indent="0">
              <a:lnSpc>
                <a:spcPct val="100000"/>
              </a:lnSpc>
              <a:buNone/>
              <a:defRPr sz="1600">
                <a:latin typeface="+mj-lt"/>
              </a:defRPr>
            </a:lvl3pPr>
            <a:lvl4pPr marL="1371600" indent="0">
              <a:lnSpc>
                <a:spcPct val="100000"/>
              </a:lnSpc>
              <a:buNone/>
              <a:defRPr sz="1600">
                <a:latin typeface="+mj-lt"/>
              </a:defRPr>
            </a:lvl4pPr>
            <a:lvl5pPr marL="1828800" indent="0">
              <a:lnSpc>
                <a:spcPct val="100000"/>
              </a:lnSpc>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B781E455-9E6F-1B48-A537-F86699963276}"/>
              </a:ext>
            </a:extLst>
          </p:cNvPr>
          <p:cNvCxnSpPr>
            <a:cxnSpLocks/>
          </p:cNvCxnSpPr>
          <p:nvPr userDrawn="1"/>
        </p:nvCxnSpPr>
        <p:spPr>
          <a:xfrm>
            <a:off x="392623" y="1342197"/>
            <a:ext cx="0"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CF93E56-30EE-384E-9A8A-090C645582DB}"/>
              </a:ext>
            </a:extLst>
          </p:cNvPr>
          <p:cNvCxnSpPr>
            <a:cxnSpLocks/>
          </p:cNvCxnSpPr>
          <p:nvPr userDrawn="1"/>
        </p:nvCxnSpPr>
        <p:spPr>
          <a:xfrm>
            <a:off x="392623" y="1405468"/>
            <a:ext cx="11369068" cy="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43B4E00-88C4-4299-98A0-265FC69F1830}"/>
              </a:ext>
            </a:extLst>
          </p:cNvPr>
          <p:cNvPicPr>
            <a:picLocks noChangeAspect="1"/>
          </p:cNvPicPr>
          <p:nvPr userDrawn="1"/>
        </p:nvPicPr>
        <p:blipFill>
          <a:blip r:embed="rId2"/>
          <a:stretch>
            <a:fillRect/>
          </a:stretch>
        </p:blipFill>
        <p:spPr>
          <a:xfrm>
            <a:off x="10725150" y="7144"/>
            <a:ext cx="1466850" cy="581025"/>
          </a:xfrm>
          <a:prstGeom prst="rect">
            <a:avLst/>
          </a:prstGeom>
        </p:spPr>
      </p:pic>
    </p:spTree>
    <p:extLst>
      <p:ext uri="{BB962C8B-B14F-4D97-AF65-F5344CB8AC3E}">
        <p14:creationId xmlns:p14="http://schemas.microsoft.com/office/powerpoint/2010/main" val="36932861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9732E-0D76-4A15-8BEE-77ABDD6A47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205306-4709-4EB5-9DA8-FAEA4C987F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9AACAD-E282-40F6-814B-E690E033BD40}"/>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5" name="Footer Placeholder 4">
            <a:extLst>
              <a:ext uri="{FF2B5EF4-FFF2-40B4-BE49-F238E27FC236}">
                <a16:creationId xmlns:a16="http://schemas.microsoft.com/office/drawing/2014/main" id="{EFF6E7D3-FCB6-4624-A562-6FE9657EF8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211524-57EB-4915-82DA-E6024B2FD0F5}"/>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1242697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42507E-0724-4B5B-9E6A-1A0D3C0400D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9080E8E-3467-42C8-8D0E-288666A1FA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7F63F44-0640-46EE-B8DA-8EB86A1FE91A}"/>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5" name="Footer Placeholder 4">
            <a:extLst>
              <a:ext uri="{FF2B5EF4-FFF2-40B4-BE49-F238E27FC236}">
                <a16:creationId xmlns:a16="http://schemas.microsoft.com/office/drawing/2014/main" id="{F6C90CD0-C980-44C4-AFCF-F61F8BE49D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EAB579E-F8A2-4777-9994-2AB11AA1E0FD}"/>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36949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4A1C1-4F8F-479F-9F62-80CC4456C4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5E0DAFF-B4B3-43D3-AEDB-176B0BCDA09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FEE2372-BB0A-4EEA-84DA-2110176A8E9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D7C8D21-BD32-4278-8857-63C2737359D8}"/>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6" name="Footer Placeholder 5">
            <a:extLst>
              <a:ext uri="{FF2B5EF4-FFF2-40B4-BE49-F238E27FC236}">
                <a16:creationId xmlns:a16="http://schemas.microsoft.com/office/drawing/2014/main" id="{49041D2B-596D-413E-AD65-6403819BFA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8367DC-6055-4F70-B201-99817CAEB9EC}"/>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515789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C7074-2CFE-4A89-B613-E2EA2046BCF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3F79CD0-4D88-4C01-B899-C01C33444FC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9BC9E82-5365-49C1-B559-A29A120521E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D3FD244-0F0C-4041-BDCA-4B4BC89DAD7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B9AF42-AAE0-4317-9EB3-21336E69C3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C0AC5E-57F2-403D-A8EC-16A47DFA5EA1}"/>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8" name="Footer Placeholder 7">
            <a:extLst>
              <a:ext uri="{FF2B5EF4-FFF2-40B4-BE49-F238E27FC236}">
                <a16:creationId xmlns:a16="http://schemas.microsoft.com/office/drawing/2014/main" id="{7B585955-4767-43D6-82DF-95196AD8BDE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EDF9301-C673-4367-89CC-50610CFC51E4}"/>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11415729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838EB-55D4-4FB1-992F-26668C40B3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808F57-B409-4B83-A412-1E0521ED6D36}"/>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4" name="Footer Placeholder 3">
            <a:extLst>
              <a:ext uri="{FF2B5EF4-FFF2-40B4-BE49-F238E27FC236}">
                <a16:creationId xmlns:a16="http://schemas.microsoft.com/office/drawing/2014/main" id="{5844814A-992C-4DCF-9BDB-0CADDE86EF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BF4FC84-61F5-498D-883C-F91C75AA898A}"/>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2581018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434359-DF81-4D86-8D1C-F237B1DBC81A}"/>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3" name="Footer Placeholder 2">
            <a:extLst>
              <a:ext uri="{FF2B5EF4-FFF2-40B4-BE49-F238E27FC236}">
                <a16:creationId xmlns:a16="http://schemas.microsoft.com/office/drawing/2014/main" id="{96C9B377-182F-487B-B3F3-B7459F56D81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29C0D7-CBCD-4FDA-8A7C-E621B18E310A}"/>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31514838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2CE92-7030-4508-943A-44C3EBDEF4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DC8220-0DCC-4985-A4FD-B59CA4B32F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C2AC1D-7D45-4FE4-93DF-105BC76A0D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7D7BA8A-BD6B-419B-B47B-3902FD03CA56}"/>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6" name="Footer Placeholder 5">
            <a:extLst>
              <a:ext uri="{FF2B5EF4-FFF2-40B4-BE49-F238E27FC236}">
                <a16:creationId xmlns:a16="http://schemas.microsoft.com/office/drawing/2014/main" id="{BDA9B9E9-6770-444F-A9F1-4E534FC76DD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0316A4-3E04-4CAB-AB66-1B4C673387A0}"/>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2820116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39E70-59C2-4EA7-BE2F-FEC68C8F9E8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95918BE-532B-4EB1-A151-85B4CEC2D47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B9F7C6-E486-443A-BDF9-4E335DF0AD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1D7A67D-A88E-4287-B668-71589F447BCD}"/>
              </a:ext>
            </a:extLst>
          </p:cNvPr>
          <p:cNvSpPr>
            <a:spLocks noGrp="1"/>
          </p:cNvSpPr>
          <p:nvPr>
            <p:ph type="dt" sz="half" idx="10"/>
          </p:nvPr>
        </p:nvSpPr>
        <p:spPr/>
        <p:txBody>
          <a:bodyPr/>
          <a:lstStyle/>
          <a:p>
            <a:fld id="{9434A0D9-2137-4B06-A03E-CDEC096018FE}" type="datetimeFigureOut">
              <a:rPr lang="en-US" smtClean="0"/>
              <a:t>5/16/2023</a:t>
            </a:fld>
            <a:endParaRPr lang="en-US"/>
          </a:p>
        </p:txBody>
      </p:sp>
      <p:sp>
        <p:nvSpPr>
          <p:cNvPr id="6" name="Footer Placeholder 5">
            <a:extLst>
              <a:ext uri="{FF2B5EF4-FFF2-40B4-BE49-F238E27FC236}">
                <a16:creationId xmlns:a16="http://schemas.microsoft.com/office/drawing/2014/main" id="{70C3861B-56B7-4794-B7D9-01BE2E039D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06850C-4ED4-4C96-B598-F872BE88C8D4}"/>
              </a:ext>
            </a:extLst>
          </p:cNvPr>
          <p:cNvSpPr>
            <a:spLocks noGrp="1"/>
          </p:cNvSpPr>
          <p:nvPr>
            <p:ph type="sldNum" sz="quarter" idx="12"/>
          </p:nvPr>
        </p:nvSpPr>
        <p:spPr/>
        <p:txBody>
          <a:bodyPr/>
          <a:lstStyle/>
          <a:p>
            <a:fld id="{FD189E2A-A475-4CD5-9508-810A7971E085}" type="slidenum">
              <a:rPr lang="en-US" smtClean="0"/>
              <a:t>‹#›</a:t>
            </a:fld>
            <a:endParaRPr lang="en-US"/>
          </a:p>
        </p:txBody>
      </p:sp>
    </p:spTree>
    <p:extLst>
      <p:ext uri="{BB962C8B-B14F-4D97-AF65-F5344CB8AC3E}">
        <p14:creationId xmlns:p14="http://schemas.microsoft.com/office/powerpoint/2010/main" val="12127784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6DACC33-1EB5-4211-BB69-D9AD7CC664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8C24359-AEED-49CB-9646-8DDB2EAB676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09212C-2057-4833-88E6-D5B6170495F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34A0D9-2137-4B06-A03E-CDEC096018FE}" type="datetimeFigureOut">
              <a:rPr lang="en-US" smtClean="0"/>
              <a:t>5/16/2023</a:t>
            </a:fld>
            <a:endParaRPr lang="en-US"/>
          </a:p>
        </p:txBody>
      </p:sp>
      <p:sp>
        <p:nvSpPr>
          <p:cNvPr id="5" name="Footer Placeholder 4">
            <a:extLst>
              <a:ext uri="{FF2B5EF4-FFF2-40B4-BE49-F238E27FC236}">
                <a16:creationId xmlns:a16="http://schemas.microsoft.com/office/drawing/2014/main" id="{6F3BB878-E010-4AD0-AFDD-FA2F27FB17E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1BB9E91-72ED-449F-8BAB-86E5F47455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D189E2A-A475-4CD5-9508-810A7971E085}" type="slidenum">
              <a:rPr lang="en-US" smtClean="0"/>
              <a:t>‹#›</a:t>
            </a:fld>
            <a:endParaRPr lang="en-US"/>
          </a:p>
        </p:txBody>
      </p:sp>
    </p:spTree>
    <p:extLst>
      <p:ext uri="{BB962C8B-B14F-4D97-AF65-F5344CB8AC3E}">
        <p14:creationId xmlns:p14="http://schemas.microsoft.com/office/powerpoint/2010/main" val="25968466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6.png"/><Relationship Id="rId7" Type="http://schemas.openxmlformats.org/officeDocument/2006/relationships/diagramColors" Target="../diagrams/colors2.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4.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7.png"/><Relationship Id="rId7" Type="http://schemas.openxmlformats.org/officeDocument/2006/relationships/diagramColors" Target="../diagrams/colors3.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chart" Target="../charts/chart1.xml"/><Relationship Id="rId5" Type="http://schemas.openxmlformats.org/officeDocument/2006/relationships/tags" Target="../tags/tag6.xml"/><Relationship Id="rId10" Type="http://schemas.openxmlformats.org/officeDocument/2006/relationships/image" Target="../media/image2.emf"/><Relationship Id="rId4" Type="http://schemas.openxmlformats.org/officeDocument/2006/relationships/tags" Target="../tags/tag5.xml"/><Relationship Id="rId9"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3.xml"/><Relationship Id="rId1" Type="http://schemas.openxmlformats.org/officeDocument/2006/relationships/tags" Target="../tags/tag10.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9167" name="Rectangle 73">
            <a:extLst>
              <a:ext uri="{FF2B5EF4-FFF2-40B4-BE49-F238E27FC236}">
                <a16:creationId xmlns:a16="http://schemas.microsoft.com/office/drawing/2014/main" id="{6DDA8CE9-E0A6-4FF2-823D-D08607606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68" name="Rectangle 75">
            <a:extLst>
              <a:ext uri="{FF2B5EF4-FFF2-40B4-BE49-F238E27FC236}">
                <a16:creationId xmlns:a16="http://schemas.microsoft.com/office/drawing/2014/main" id="{11195564-33B9-434B-9641-764F5905A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grpSp>
        <p:nvGrpSpPr>
          <p:cNvPr id="49169" name="Group 77">
            <a:extLst>
              <a:ext uri="{FF2B5EF4-FFF2-40B4-BE49-F238E27FC236}">
                <a16:creationId xmlns:a16="http://schemas.microsoft.com/office/drawing/2014/main" id="{1D18C537-E336-47C4-836B-C342A230F8F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52475" y="1"/>
            <a:ext cx="4262009" cy="2602764"/>
            <a:chOff x="6867015" y="-1"/>
            <a:chExt cx="5324985" cy="3251912"/>
          </a:xfrm>
          <a:solidFill>
            <a:schemeClr val="accent5">
              <a:alpha val="5000"/>
            </a:schemeClr>
          </a:solidFill>
        </p:grpSpPr>
        <p:sp>
          <p:nvSpPr>
            <p:cNvPr id="79" name="Freeform: Shape 78">
              <a:extLst>
                <a:ext uri="{FF2B5EF4-FFF2-40B4-BE49-F238E27FC236}">
                  <a16:creationId xmlns:a16="http://schemas.microsoft.com/office/drawing/2014/main" id="{481F97D2-9A0D-4CA5-B9AF-27B558BCF13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70" name="Freeform: Shape 79">
              <a:extLst>
                <a:ext uri="{FF2B5EF4-FFF2-40B4-BE49-F238E27FC236}">
                  <a16:creationId xmlns:a16="http://schemas.microsoft.com/office/drawing/2014/main" id="{6678A47C-892D-47C9-A5D8-F8860B1B053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71" name="Freeform: Shape 80">
              <a:extLst>
                <a:ext uri="{FF2B5EF4-FFF2-40B4-BE49-F238E27FC236}">
                  <a16:creationId xmlns:a16="http://schemas.microsoft.com/office/drawing/2014/main" id="{D9E8FDFA-59ED-4D6F-BA20-10CDF8436C2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72" name="Freeform: Shape 81">
              <a:extLst>
                <a:ext uri="{FF2B5EF4-FFF2-40B4-BE49-F238E27FC236}">
                  <a16:creationId xmlns:a16="http://schemas.microsoft.com/office/drawing/2014/main" id="{E958D9A5-8003-4D92-8C05-787C630F75D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173" name="Group 83">
            <a:extLst>
              <a:ext uri="{FF2B5EF4-FFF2-40B4-BE49-F238E27FC236}">
                <a16:creationId xmlns:a16="http://schemas.microsoft.com/office/drawing/2014/main" id="{5A1259D8-0C3A-4069-A22F-537BBBB61A9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160995" y="62352"/>
            <a:ext cx="6028697" cy="6795648"/>
            <a:chOff x="6160995" y="62352"/>
            <a:chExt cx="6028697" cy="6795648"/>
          </a:xfrm>
        </p:grpSpPr>
        <p:sp>
          <p:nvSpPr>
            <p:cNvPr id="49174" name="Freeform: Shape 84">
              <a:extLst>
                <a:ext uri="{FF2B5EF4-FFF2-40B4-BE49-F238E27FC236}">
                  <a16:creationId xmlns:a16="http://schemas.microsoft.com/office/drawing/2014/main" id="{D90700B4-CEB5-450F-9EA7-95E355B503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82080" y="81632"/>
              <a:ext cx="6007612" cy="6776368"/>
            </a:xfrm>
            <a:custGeom>
              <a:avLst/>
              <a:gdLst>
                <a:gd name="connsiteX0" fmla="*/ 4493599 w 6007612"/>
                <a:gd name="connsiteY0" fmla="*/ 0 h 6797829"/>
                <a:gd name="connsiteX1" fmla="*/ 5981837 w 6007612"/>
                <a:gd name="connsiteY1" fmla="*/ 314220 h 6797829"/>
                <a:gd name="connsiteX2" fmla="*/ 6007612 w 6007612"/>
                <a:gd name="connsiteY2" fmla="*/ 327088 h 6797829"/>
                <a:gd name="connsiteX3" fmla="*/ 6007612 w 6007612"/>
                <a:gd name="connsiteY3" fmla="*/ 1316637 h 6797829"/>
                <a:gd name="connsiteX4" fmla="*/ 5852405 w 6007612"/>
                <a:gd name="connsiteY4" fmla="*/ 1209899 h 6797829"/>
                <a:gd name="connsiteX5" fmla="*/ 5622498 w 6007612"/>
                <a:gd name="connsiteY5" fmla="*/ 1086619 h 6797829"/>
                <a:gd name="connsiteX6" fmla="*/ 4493032 w 6007612"/>
                <a:gd name="connsiteY6" fmla="*/ 851533 h 6797829"/>
                <a:gd name="connsiteX7" fmla="*/ 3155579 w 6007612"/>
                <a:gd name="connsiteY7" fmla="*/ 1108326 h 6797829"/>
                <a:gd name="connsiteX8" fmla="*/ 1963832 w 6007612"/>
                <a:gd name="connsiteY8" fmla="*/ 1817700 h 6797829"/>
                <a:gd name="connsiteX9" fmla="*/ 1144646 w 6007612"/>
                <a:gd name="connsiteY9" fmla="*/ 2832814 h 6797829"/>
                <a:gd name="connsiteX10" fmla="*/ 851249 w 6007612"/>
                <a:gd name="connsiteY10" fmla="*/ 3998599 h 6797829"/>
                <a:gd name="connsiteX11" fmla="*/ 1336319 w 6007612"/>
                <a:gd name="connsiteY11" fmla="*/ 5057837 h 6797829"/>
                <a:gd name="connsiteX12" fmla="*/ 1597084 w 6007612"/>
                <a:gd name="connsiteY12" fmla="*/ 5424583 h 6797829"/>
                <a:gd name="connsiteX13" fmla="*/ 2591910 w 6007612"/>
                <a:gd name="connsiteY13" fmla="*/ 6440122 h 6797829"/>
                <a:gd name="connsiteX14" fmla="*/ 3899854 w 6007612"/>
                <a:gd name="connsiteY14" fmla="*/ 6780621 h 6797829"/>
                <a:gd name="connsiteX15" fmla="*/ 4741172 w 6007612"/>
                <a:gd name="connsiteY15" fmla="*/ 6563979 h 6797829"/>
                <a:gd name="connsiteX16" fmla="*/ 5649171 w 6007612"/>
                <a:gd name="connsiteY16" fmla="*/ 5938452 h 6797829"/>
                <a:gd name="connsiteX17" fmla="*/ 5873475 w 6007612"/>
                <a:gd name="connsiteY17" fmla="*/ 5764656 h 6797829"/>
                <a:gd name="connsiteX18" fmla="*/ 6007612 w 6007612"/>
                <a:gd name="connsiteY18" fmla="*/ 5660343 h 6797829"/>
                <a:gd name="connsiteX19" fmla="*/ 6007612 w 6007612"/>
                <a:gd name="connsiteY19" fmla="*/ 6737454 h 6797829"/>
                <a:gd name="connsiteX20" fmla="*/ 5929386 w 6007612"/>
                <a:gd name="connsiteY20" fmla="*/ 6797829 h 6797829"/>
                <a:gd name="connsiteX21" fmla="*/ 1656512 w 6007612"/>
                <a:gd name="connsiteY21" fmla="*/ 6797829 h 6797829"/>
                <a:gd name="connsiteX22" fmla="*/ 1630254 w 6007612"/>
                <a:gd name="connsiteY22" fmla="*/ 6775222 h 6797829"/>
                <a:gd name="connsiteX23" fmla="*/ 892250 w 6007612"/>
                <a:gd name="connsiteY23" fmla="*/ 5902700 h 6797829"/>
                <a:gd name="connsiteX24" fmla="*/ 0 w 6007612"/>
                <a:gd name="connsiteY24" fmla="*/ 3998599 h 6797829"/>
                <a:gd name="connsiteX25" fmla="*/ 4493032 w 6007612"/>
                <a:gd name="connsiteY25" fmla="*/ 285 h 679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007612" h="6797829">
                  <a:moveTo>
                    <a:pt x="4493599" y="0"/>
                  </a:moveTo>
                  <a:cubicBezTo>
                    <a:pt x="5048011" y="0"/>
                    <a:pt x="5546284" y="111886"/>
                    <a:pt x="5981837" y="314220"/>
                  </a:cubicBezTo>
                  <a:lnTo>
                    <a:pt x="6007612" y="327088"/>
                  </a:lnTo>
                  <a:lnTo>
                    <a:pt x="6007612" y="1316637"/>
                  </a:lnTo>
                  <a:lnTo>
                    <a:pt x="5852405" y="1209899"/>
                  </a:lnTo>
                  <a:cubicBezTo>
                    <a:pt x="5778266" y="1164709"/>
                    <a:pt x="5701526" y="1123535"/>
                    <a:pt x="5622498" y="1086619"/>
                  </a:cubicBezTo>
                  <a:cubicBezTo>
                    <a:pt x="5286822" y="930699"/>
                    <a:pt x="4906882" y="851533"/>
                    <a:pt x="4493032" y="851533"/>
                  </a:cubicBezTo>
                  <a:cubicBezTo>
                    <a:pt x="4056201" y="851533"/>
                    <a:pt x="3593263" y="940631"/>
                    <a:pt x="3155579" y="1108326"/>
                  </a:cubicBezTo>
                  <a:cubicBezTo>
                    <a:pt x="2721215" y="1275979"/>
                    <a:pt x="2318305" y="1515819"/>
                    <a:pt x="1963832" y="1817700"/>
                  </a:cubicBezTo>
                  <a:cubicBezTo>
                    <a:pt x="1617657" y="2114360"/>
                    <a:pt x="1334332" y="2465358"/>
                    <a:pt x="1144646" y="2832814"/>
                  </a:cubicBezTo>
                  <a:cubicBezTo>
                    <a:pt x="950561" y="3210060"/>
                    <a:pt x="851249" y="3602202"/>
                    <a:pt x="851249" y="3998599"/>
                  </a:cubicBezTo>
                  <a:cubicBezTo>
                    <a:pt x="851249" y="4377547"/>
                    <a:pt x="999792" y="4597311"/>
                    <a:pt x="1336319" y="5057837"/>
                  </a:cubicBezTo>
                  <a:cubicBezTo>
                    <a:pt x="1420450" y="5173181"/>
                    <a:pt x="1507419" y="5292497"/>
                    <a:pt x="1597084" y="5424583"/>
                  </a:cubicBezTo>
                  <a:cubicBezTo>
                    <a:pt x="1914175" y="5891917"/>
                    <a:pt x="2239493" y="6224189"/>
                    <a:pt x="2591910" y="6440122"/>
                  </a:cubicBezTo>
                  <a:cubicBezTo>
                    <a:pt x="2965467" y="6669393"/>
                    <a:pt x="3393219" y="6780621"/>
                    <a:pt x="3899854" y="6780621"/>
                  </a:cubicBezTo>
                  <a:cubicBezTo>
                    <a:pt x="4187861" y="6780621"/>
                    <a:pt x="4454583" y="6711812"/>
                    <a:pt x="4741172" y="6563979"/>
                  </a:cubicBezTo>
                  <a:cubicBezTo>
                    <a:pt x="5034852" y="6412173"/>
                    <a:pt x="5326263" y="6190848"/>
                    <a:pt x="5649171" y="5938452"/>
                  </a:cubicBezTo>
                  <a:cubicBezTo>
                    <a:pt x="5724931" y="5879291"/>
                    <a:pt x="5800409" y="5821406"/>
                    <a:pt x="5873475" y="5764656"/>
                  </a:cubicBezTo>
                  <a:lnTo>
                    <a:pt x="6007612" y="5660343"/>
                  </a:lnTo>
                  <a:lnTo>
                    <a:pt x="6007612" y="6737454"/>
                  </a:lnTo>
                  <a:lnTo>
                    <a:pt x="5929386" y="6797829"/>
                  </a:lnTo>
                  <a:lnTo>
                    <a:pt x="1656512" y="6797829"/>
                  </a:lnTo>
                  <a:lnTo>
                    <a:pt x="1630254" y="6775222"/>
                  </a:lnTo>
                  <a:cubicBezTo>
                    <a:pt x="1360562" y="6528765"/>
                    <a:pt x="1117699" y="6235219"/>
                    <a:pt x="892250" y="5902700"/>
                  </a:cubicBezTo>
                  <a:cubicBezTo>
                    <a:pt x="459249" y="5264548"/>
                    <a:pt x="0" y="4826722"/>
                    <a:pt x="0" y="3998599"/>
                  </a:cubicBezTo>
                  <a:cubicBezTo>
                    <a:pt x="0" y="1790460"/>
                    <a:pt x="2262336" y="285"/>
                    <a:pt x="4493032" y="2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75" name="Freeform: Shape 85">
              <a:extLst>
                <a:ext uri="{FF2B5EF4-FFF2-40B4-BE49-F238E27FC236}">
                  <a16:creationId xmlns:a16="http://schemas.microsoft.com/office/drawing/2014/main" id="{0582300F-F646-4FC3-94FC-0582F4B5E0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60995" y="62352"/>
              <a:ext cx="6028697" cy="6795648"/>
            </a:xfrm>
            <a:custGeom>
              <a:avLst/>
              <a:gdLst>
                <a:gd name="connsiteX0" fmla="*/ 6028697 w 6028697"/>
                <a:gd name="connsiteY0" fmla="*/ 6155323 h 6817170"/>
                <a:gd name="connsiteX1" fmla="*/ 6028697 w 6028697"/>
                <a:gd name="connsiteY1" fmla="*/ 6817170 h 6817170"/>
                <a:gd name="connsiteX2" fmla="*/ 5157862 w 6028697"/>
                <a:gd name="connsiteY2" fmla="*/ 6817170 h 6817170"/>
                <a:gd name="connsiteX3" fmla="*/ 5347156 w 6028697"/>
                <a:gd name="connsiteY3" fmla="*/ 6687553 h 6817170"/>
                <a:gd name="connsiteX4" fmla="*/ 5487470 w 6028697"/>
                <a:gd name="connsiteY4" fmla="*/ 6581714 h 6817170"/>
                <a:gd name="connsiteX5" fmla="*/ 5627642 w 6028697"/>
                <a:gd name="connsiteY5" fmla="*/ 6472328 h 6817170"/>
                <a:gd name="connsiteX6" fmla="*/ 5911392 w 6028697"/>
                <a:gd name="connsiteY6" fmla="*/ 6245328 h 6817170"/>
                <a:gd name="connsiteX7" fmla="*/ 4481066 w 6028697"/>
                <a:gd name="connsiteY7" fmla="*/ 478 h 6817170"/>
                <a:gd name="connsiteX8" fmla="*/ 4672258 w 6028697"/>
                <a:gd name="connsiteY8" fmla="*/ 7519 h 6817170"/>
                <a:gd name="connsiteX9" fmla="*/ 5429869 w 6028697"/>
                <a:gd name="connsiteY9" fmla="*/ 125134 h 6817170"/>
                <a:gd name="connsiteX10" fmla="*/ 5976319 w 6028697"/>
                <a:gd name="connsiteY10" fmla="*/ 314893 h 6817170"/>
                <a:gd name="connsiteX11" fmla="*/ 6028697 w 6028697"/>
                <a:gd name="connsiteY11" fmla="*/ 339901 h 6817170"/>
                <a:gd name="connsiteX12" fmla="*/ 6028697 w 6028697"/>
                <a:gd name="connsiteY12" fmla="*/ 732458 h 6817170"/>
                <a:gd name="connsiteX13" fmla="*/ 5990985 w 6028697"/>
                <a:gd name="connsiteY13" fmla="*/ 712211 h 6817170"/>
                <a:gd name="connsiteX14" fmla="*/ 5341339 w 6028697"/>
                <a:gd name="connsiteY14" fmla="*/ 475281 h 6817170"/>
                <a:gd name="connsiteX15" fmla="*/ 4651969 w 6028697"/>
                <a:gd name="connsiteY15" fmla="*/ 377104 h 6817170"/>
                <a:gd name="connsiteX16" fmla="*/ 3953093 w 6028697"/>
                <a:gd name="connsiteY16" fmla="*/ 402498 h 6817170"/>
                <a:gd name="connsiteX17" fmla="*/ 3267413 w 6028697"/>
                <a:gd name="connsiteY17" fmla="*/ 546643 h 6817170"/>
                <a:gd name="connsiteX18" fmla="*/ 1439498 w 6028697"/>
                <a:gd name="connsiteY18" fmla="*/ 1568141 h 6817170"/>
                <a:gd name="connsiteX19" fmla="*/ 960671 w 6028697"/>
                <a:gd name="connsiteY19" fmla="*/ 2082013 h 6817170"/>
                <a:gd name="connsiteX20" fmla="*/ 581866 w 6028697"/>
                <a:gd name="connsiteY20" fmla="*/ 2672638 h 6817170"/>
                <a:gd name="connsiteX21" fmla="*/ 324789 w 6028697"/>
                <a:gd name="connsiteY21" fmla="*/ 3325262 h 6817170"/>
                <a:gd name="connsiteX22" fmla="*/ 231151 w 6028697"/>
                <a:gd name="connsiteY22" fmla="*/ 4022292 h 6817170"/>
                <a:gd name="connsiteX23" fmla="*/ 270592 w 6028697"/>
                <a:gd name="connsiteY23" fmla="*/ 4362792 h 6817170"/>
                <a:gd name="connsiteX24" fmla="*/ 387213 w 6028697"/>
                <a:gd name="connsiteY24" fmla="*/ 4681585 h 6817170"/>
                <a:gd name="connsiteX25" fmla="*/ 468507 w 6028697"/>
                <a:gd name="connsiteY25" fmla="*/ 4831546 h 6817170"/>
                <a:gd name="connsiteX26" fmla="*/ 561862 w 6028697"/>
                <a:gd name="connsiteY26" fmla="*/ 4976826 h 6817170"/>
                <a:gd name="connsiteX27" fmla="*/ 777511 w 6028697"/>
                <a:gd name="connsiteY27" fmla="*/ 5257597 h 6817170"/>
                <a:gd name="connsiteX28" fmla="*/ 1010895 w 6028697"/>
                <a:gd name="connsiteY28" fmla="*/ 5540494 h 6817170"/>
                <a:gd name="connsiteX29" fmla="*/ 1126948 w 6028697"/>
                <a:gd name="connsiteY29" fmla="*/ 5688186 h 6817170"/>
                <a:gd name="connsiteX30" fmla="*/ 1182706 w 6028697"/>
                <a:gd name="connsiteY30" fmla="*/ 5760543 h 6817170"/>
                <a:gd name="connsiteX31" fmla="*/ 1237327 w 6028697"/>
                <a:gd name="connsiteY31" fmla="*/ 5830060 h 6817170"/>
                <a:gd name="connsiteX32" fmla="*/ 1706649 w 6028697"/>
                <a:gd name="connsiteY32" fmla="*/ 6342797 h 6817170"/>
                <a:gd name="connsiteX33" fmla="*/ 1956207 w 6028697"/>
                <a:gd name="connsiteY33" fmla="*/ 6573484 h 6817170"/>
                <a:gd name="connsiteX34" fmla="*/ 2217681 w 6028697"/>
                <a:gd name="connsiteY34" fmla="*/ 6786297 h 6817170"/>
                <a:gd name="connsiteX35" fmla="*/ 2260820 w 6028697"/>
                <a:gd name="connsiteY35" fmla="*/ 6817170 h 6817170"/>
                <a:gd name="connsiteX36" fmla="*/ 1429497 w 6028697"/>
                <a:gd name="connsiteY36" fmla="*/ 6817170 h 6817170"/>
                <a:gd name="connsiteX37" fmla="*/ 1327275 w 6028697"/>
                <a:gd name="connsiteY37" fmla="*/ 6713800 h 6817170"/>
                <a:gd name="connsiteX38" fmla="*/ 1080556 w 6028697"/>
                <a:gd name="connsiteY38" fmla="*/ 6414443 h 6817170"/>
                <a:gd name="connsiteX39" fmla="*/ 865189 w 6028697"/>
                <a:gd name="connsiteY39" fmla="*/ 6097496 h 6817170"/>
                <a:gd name="connsiteX40" fmla="*/ 814823 w 6028697"/>
                <a:gd name="connsiteY40" fmla="*/ 6016911 h 6817170"/>
                <a:gd name="connsiteX41" fmla="*/ 766729 w 6028697"/>
                <a:gd name="connsiteY41" fmla="*/ 5938453 h 6817170"/>
                <a:gd name="connsiteX42" fmla="*/ 671672 w 6028697"/>
                <a:gd name="connsiteY42" fmla="*/ 5786648 h 6817170"/>
                <a:gd name="connsiteX43" fmla="*/ 474608 w 6028697"/>
                <a:gd name="connsiteY43" fmla="*/ 5474664 h 6817170"/>
                <a:gd name="connsiteX44" fmla="*/ 282652 w 6028697"/>
                <a:gd name="connsiteY44" fmla="*/ 5146508 h 6817170"/>
                <a:gd name="connsiteX45" fmla="*/ 196108 w 6028697"/>
                <a:gd name="connsiteY45" fmla="*/ 4972712 h 6817170"/>
                <a:gd name="connsiteX46" fmla="*/ 122474 w 6028697"/>
                <a:gd name="connsiteY46" fmla="*/ 4791821 h 6817170"/>
                <a:gd name="connsiteX47" fmla="*/ 65724 w 6028697"/>
                <a:gd name="connsiteY47" fmla="*/ 4603129 h 6817170"/>
                <a:gd name="connsiteX48" fmla="*/ 44727 w 6028697"/>
                <a:gd name="connsiteY48" fmla="*/ 4506937 h 6817170"/>
                <a:gd name="connsiteX49" fmla="*/ 35505 w 6028697"/>
                <a:gd name="connsiteY49" fmla="*/ 4458699 h 6817170"/>
                <a:gd name="connsiteX50" fmla="*/ 27845 w 6028697"/>
                <a:gd name="connsiteY50" fmla="*/ 4410320 h 6817170"/>
                <a:gd name="connsiteX51" fmla="*/ 37 w 6028697"/>
                <a:gd name="connsiteY51" fmla="*/ 4022292 h 6817170"/>
                <a:gd name="connsiteX52" fmla="*/ 78777 w 6028697"/>
                <a:gd name="connsiteY52" fmla="*/ 3267236 h 6817170"/>
                <a:gd name="connsiteX53" fmla="*/ 315424 w 6028697"/>
                <a:gd name="connsiteY53" fmla="*/ 2543673 h 6817170"/>
                <a:gd name="connsiteX54" fmla="*/ 1202710 w 6028697"/>
                <a:gd name="connsiteY54" fmla="*/ 1314895 h 6817170"/>
                <a:gd name="connsiteX55" fmla="*/ 1791065 w 6028697"/>
                <a:gd name="connsiteY55" fmla="*/ 833514 h 6817170"/>
                <a:gd name="connsiteX56" fmla="*/ 3908404 w 6028697"/>
                <a:gd name="connsiteY56" fmla="*/ 29794 h 6817170"/>
                <a:gd name="connsiteX57" fmla="*/ 4481066 w 6028697"/>
                <a:gd name="connsiteY57" fmla="*/ 478 h 681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28697" h="6817170">
                  <a:moveTo>
                    <a:pt x="6028697" y="6155323"/>
                  </a:moveTo>
                  <a:lnTo>
                    <a:pt x="6028697" y="6817170"/>
                  </a:lnTo>
                  <a:lnTo>
                    <a:pt x="5157862" y="6817170"/>
                  </a:lnTo>
                  <a:lnTo>
                    <a:pt x="5347156" y="6687553"/>
                  </a:lnTo>
                  <a:cubicBezTo>
                    <a:pt x="5394117" y="6653219"/>
                    <a:pt x="5440793" y="6617608"/>
                    <a:pt x="5487470" y="6581714"/>
                  </a:cubicBezTo>
                  <a:cubicBezTo>
                    <a:pt x="5534147" y="6545820"/>
                    <a:pt x="5580966" y="6509358"/>
                    <a:pt x="5627642" y="6472328"/>
                  </a:cubicBezTo>
                  <a:lnTo>
                    <a:pt x="5911392" y="6245328"/>
                  </a:lnTo>
                  <a:close/>
                  <a:moveTo>
                    <a:pt x="4481066" y="478"/>
                  </a:moveTo>
                  <a:cubicBezTo>
                    <a:pt x="4544817" y="1422"/>
                    <a:pt x="4608563" y="3769"/>
                    <a:pt x="4672258" y="7519"/>
                  </a:cubicBezTo>
                  <a:cubicBezTo>
                    <a:pt x="4927973" y="22364"/>
                    <a:pt x="5181687" y="61751"/>
                    <a:pt x="5429869" y="125134"/>
                  </a:cubicBezTo>
                  <a:cubicBezTo>
                    <a:pt x="5617090" y="173104"/>
                    <a:pt x="5799867" y="236595"/>
                    <a:pt x="5976319" y="314893"/>
                  </a:cubicBezTo>
                  <a:lnTo>
                    <a:pt x="6028697" y="339901"/>
                  </a:lnTo>
                  <a:lnTo>
                    <a:pt x="6028697" y="732458"/>
                  </a:lnTo>
                  <a:lnTo>
                    <a:pt x="5990985" y="712211"/>
                  </a:lnTo>
                  <a:cubicBezTo>
                    <a:pt x="5783917" y="609342"/>
                    <a:pt x="5566013" y="529876"/>
                    <a:pt x="5341339" y="475281"/>
                  </a:cubicBezTo>
                  <a:cubicBezTo>
                    <a:pt x="5115233" y="420503"/>
                    <a:pt x="4884375" y="387624"/>
                    <a:pt x="4651969" y="377104"/>
                  </a:cubicBezTo>
                  <a:cubicBezTo>
                    <a:pt x="4418713" y="365171"/>
                    <a:pt x="4184861" y="373670"/>
                    <a:pt x="3953093" y="402498"/>
                  </a:cubicBezTo>
                  <a:cubicBezTo>
                    <a:pt x="3721001" y="431832"/>
                    <a:pt x="3491675" y="480040"/>
                    <a:pt x="3267413" y="546643"/>
                  </a:cubicBezTo>
                  <a:cubicBezTo>
                    <a:pt x="2591323" y="750761"/>
                    <a:pt x="1967642" y="1099289"/>
                    <a:pt x="1439498" y="1568141"/>
                  </a:cubicBezTo>
                  <a:cubicBezTo>
                    <a:pt x="1265589" y="1725523"/>
                    <a:pt x="1105393" y="1897434"/>
                    <a:pt x="960671" y="2082013"/>
                  </a:cubicBezTo>
                  <a:cubicBezTo>
                    <a:pt x="815775" y="2266294"/>
                    <a:pt x="688923" y="2464081"/>
                    <a:pt x="581866" y="2672638"/>
                  </a:cubicBezTo>
                  <a:cubicBezTo>
                    <a:pt x="473765" y="2880669"/>
                    <a:pt x="387610" y="3099397"/>
                    <a:pt x="324789" y="3325262"/>
                  </a:cubicBezTo>
                  <a:cubicBezTo>
                    <a:pt x="262714" y="3552403"/>
                    <a:pt x="231223" y="3786822"/>
                    <a:pt x="231151" y="4022292"/>
                  </a:cubicBezTo>
                  <a:cubicBezTo>
                    <a:pt x="231413" y="4136912"/>
                    <a:pt x="244645" y="4251136"/>
                    <a:pt x="270592" y="4362792"/>
                  </a:cubicBezTo>
                  <a:cubicBezTo>
                    <a:pt x="297885" y="4472943"/>
                    <a:pt x="336983" y="4579833"/>
                    <a:pt x="387213" y="4681585"/>
                  </a:cubicBezTo>
                  <a:cubicBezTo>
                    <a:pt x="412042" y="4732517"/>
                    <a:pt x="439423" y="4782457"/>
                    <a:pt x="468507" y="4831546"/>
                  </a:cubicBezTo>
                  <a:cubicBezTo>
                    <a:pt x="497591" y="4880636"/>
                    <a:pt x="529230" y="4929015"/>
                    <a:pt x="561862" y="4976826"/>
                  </a:cubicBezTo>
                  <a:cubicBezTo>
                    <a:pt x="627975" y="5072166"/>
                    <a:pt x="701466" y="5164668"/>
                    <a:pt x="777511" y="5257597"/>
                  </a:cubicBezTo>
                  <a:cubicBezTo>
                    <a:pt x="853556" y="5350524"/>
                    <a:pt x="933574" y="5443594"/>
                    <a:pt x="1010895" y="5540494"/>
                  </a:cubicBezTo>
                  <a:cubicBezTo>
                    <a:pt x="1049957" y="5588732"/>
                    <a:pt x="1088642" y="5637963"/>
                    <a:pt x="1126948" y="5688186"/>
                  </a:cubicBezTo>
                  <a:lnTo>
                    <a:pt x="1182706" y="5760543"/>
                  </a:lnTo>
                  <a:cubicBezTo>
                    <a:pt x="1201007" y="5783669"/>
                    <a:pt x="1218458" y="5807503"/>
                    <a:pt x="1237327" y="5830060"/>
                  </a:cubicBezTo>
                  <a:cubicBezTo>
                    <a:pt x="1383714" y="6009916"/>
                    <a:pt x="1540413" y="6181116"/>
                    <a:pt x="1706649" y="6342797"/>
                  </a:cubicBezTo>
                  <a:cubicBezTo>
                    <a:pt x="1788084" y="6422531"/>
                    <a:pt x="1871265" y="6499427"/>
                    <a:pt x="1956207" y="6573484"/>
                  </a:cubicBezTo>
                  <a:cubicBezTo>
                    <a:pt x="2041332" y="6647402"/>
                    <a:pt x="2127733" y="6718907"/>
                    <a:pt x="2217681" y="6786297"/>
                  </a:cubicBezTo>
                  <a:lnTo>
                    <a:pt x="2260820" y="6817170"/>
                  </a:lnTo>
                  <a:lnTo>
                    <a:pt x="1429497" y="6817170"/>
                  </a:lnTo>
                  <a:lnTo>
                    <a:pt x="1327275" y="6713800"/>
                  </a:lnTo>
                  <a:cubicBezTo>
                    <a:pt x="1239186" y="6618984"/>
                    <a:pt x="1156797" y="6519019"/>
                    <a:pt x="1080556" y="6414443"/>
                  </a:cubicBezTo>
                  <a:cubicBezTo>
                    <a:pt x="1004653" y="6310734"/>
                    <a:pt x="932439" y="6205177"/>
                    <a:pt x="865189" y="6097496"/>
                  </a:cubicBezTo>
                  <a:cubicBezTo>
                    <a:pt x="847881" y="6070823"/>
                    <a:pt x="831565" y="6043725"/>
                    <a:pt x="814823" y="6016911"/>
                  </a:cubicBezTo>
                  <a:lnTo>
                    <a:pt x="766729" y="5938453"/>
                  </a:lnTo>
                  <a:cubicBezTo>
                    <a:pt x="735941" y="5887947"/>
                    <a:pt x="703878" y="5837581"/>
                    <a:pt x="671672" y="5786648"/>
                  </a:cubicBezTo>
                  <a:lnTo>
                    <a:pt x="474608" y="5474664"/>
                  </a:lnTo>
                  <a:cubicBezTo>
                    <a:pt x="408778" y="5368968"/>
                    <a:pt x="343516" y="5260008"/>
                    <a:pt x="282652" y="5146508"/>
                  </a:cubicBezTo>
                  <a:cubicBezTo>
                    <a:pt x="252290" y="5089759"/>
                    <a:pt x="223065" y="5032015"/>
                    <a:pt x="196108" y="4972712"/>
                  </a:cubicBezTo>
                  <a:cubicBezTo>
                    <a:pt x="169152" y="4913408"/>
                    <a:pt x="144607" y="4853111"/>
                    <a:pt x="122474" y="4791821"/>
                  </a:cubicBezTo>
                  <a:cubicBezTo>
                    <a:pt x="100342" y="4730532"/>
                    <a:pt x="81757" y="4666830"/>
                    <a:pt x="65724" y="4603129"/>
                  </a:cubicBezTo>
                  <a:cubicBezTo>
                    <a:pt x="58205" y="4571064"/>
                    <a:pt x="50828" y="4539143"/>
                    <a:pt x="44727" y="4506937"/>
                  </a:cubicBezTo>
                  <a:lnTo>
                    <a:pt x="35505" y="4458699"/>
                  </a:lnTo>
                  <a:lnTo>
                    <a:pt x="27845" y="4410320"/>
                  </a:lnTo>
                  <a:cubicBezTo>
                    <a:pt x="8635" y="4281881"/>
                    <a:pt x="-661" y="4152150"/>
                    <a:pt x="37" y="4022292"/>
                  </a:cubicBezTo>
                  <a:cubicBezTo>
                    <a:pt x="712" y="3768592"/>
                    <a:pt x="27094" y="3515615"/>
                    <a:pt x="78777" y="3267236"/>
                  </a:cubicBezTo>
                  <a:cubicBezTo>
                    <a:pt x="130048" y="3017876"/>
                    <a:pt x="209439" y="2775142"/>
                    <a:pt x="315424" y="2543673"/>
                  </a:cubicBezTo>
                  <a:cubicBezTo>
                    <a:pt x="528236" y="2081161"/>
                    <a:pt x="838234" y="1667312"/>
                    <a:pt x="1202710" y="1314895"/>
                  </a:cubicBezTo>
                  <a:cubicBezTo>
                    <a:pt x="1385514" y="1138814"/>
                    <a:pt x="1582282" y="977831"/>
                    <a:pt x="1791065" y="833514"/>
                  </a:cubicBezTo>
                  <a:cubicBezTo>
                    <a:pt x="2420037" y="395614"/>
                    <a:pt x="3147288" y="119557"/>
                    <a:pt x="3908404" y="29794"/>
                  </a:cubicBezTo>
                  <a:cubicBezTo>
                    <a:pt x="4098509" y="7429"/>
                    <a:pt x="4289811" y="-2355"/>
                    <a:pt x="4481066" y="478"/>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Freeform: Shape 86">
              <a:extLst>
                <a:ext uri="{FF2B5EF4-FFF2-40B4-BE49-F238E27FC236}">
                  <a16:creationId xmlns:a16="http://schemas.microsoft.com/office/drawing/2014/main" id="{FBB8E8B8-1900-4326-8858-F375F5D8A01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163721" y="81632"/>
              <a:ext cx="6025971" cy="6776368"/>
            </a:xfrm>
            <a:custGeom>
              <a:avLst/>
              <a:gdLst>
                <a:gd name="connsiteX0" fmla="*/ 6025971 w 6025971"/>
                <a:gd name="connsiteY0" fmla="*/ 5825635 h 6797829"/>
                <a:gd name="connsiteX1" fmla="*/ 6025971 w 6025971"/>
                <a:gd name="connsiteY1" fmla="*/ 6723285 h 6797829"/>
                <a:gd name="connsiteX2" fmla="*/ 5929386 w 6025971"/>
                <a:gd name="connsiteY2" fmla="*/ 6797829 h 6797829"/>
                <a:gd name="connsiteX3" fmla="*/ 4560411 w 6025971"/>
                <a:gd name="connsiteY3" fmla="*/ 6797829 h 6797829"/>
                <a:gd name="connsiteX4" fmla="*/ 4597731 w 6025971"/>
                <a:gd name="connsiteY4" fmla="*/ 6785305 h 6797829"/>
                <a:gd name="connsiteX5" fmla="*/ 5736707 w 6025971"/>
                <a:gd name="connsiteY5" fmla="*/ 6050108 h 6797829"/>
                <a:gd name="connsiteX6" fmla="*/ 5960301 w 6025971"/>
                <a:gd name="connsiteY6" fmla="*/ 5876738 h 6797829"/>
                <a:gd name="connsiteX7" fmla="*/ 4493599 w 6025971"/>
                <a:gd name="connsiteY7" fmla="*/ 0 h 6797829"/>
                <a:gd name="connsiteX8" fmla="*/ 5981837 w 6025971"/>
                <a:gd name="connsiteY8" fmla="*/ 314220 h 6797829"/>
                <a:gd name="connsiteX9" fmla="*/ 6025971 w 6025971"/>
                <a:gd name="connsiteY9" fmla="*/ 336254 h 6797829"/>
                <a:gd name="connsiteX10" fmla="*/ 6025971 w 6025971"/>
                <a:gd name="connsiteY10" fmla="*/ 1157325 h 6797829"/>
                <a:gd name="connsiteX11" fmla="*/ 5925889 w 6025971"/>
                <a:gd name="connsiteY11" fmla="*/ 1088522 h 6797829"/>
                <a:gd name="connsiteX12" fmla="*/ 5682227 w 6025971"/>
                <a:gd name="connsiteY12" fmla="*/ 957939 h 6797829"/>
                <a:gd name="connsiteX13" fmla="*/ 4493032 w 6025971"/>
                <a:gd name="connsiteY13" fmla="*/ 709658 h 6797829"/>
                <a:gd name="connsiteX14" fmla="*/ 3104646 w 6025971"/>
                <a:gd name="connsiteY14" fmla="*/ 976666 h 6797829"/>
                <a:gd name="connsiteX15" fmla="*/ 1871612 w 6025971"/>
                <a:gd name="connsiteY15" fmla="*/ 1710017 h 6797829"/>
                <a:gd name="connsiteX16" fmla="*/ 1018661 w 6025971"/>
                <a:gd name="connsiteY16" fmla="*/ 2767694 h 6797829"/>
                <a:gd name="connsiteX17" fmla="*/ 709374 w 6025971"/>
                <a:gd name="connsiteY17" fmla="*/ 3998599 h 6797829"/>
                <a:gd name="connsiteX18" fmla="*/ 1221258 w 6025971"/>
                <a:gd name="connsiteY18" fmla="*/ 5141684 h 6797829"/>
                <a:gd name="connsiteX19" fmla="*/ 1479187 w 6025971"/>
                <a:gd name="connsiteY19" fmla="*/ 5504459 h 6797829"/>
                <a:gd name="connsiteX20" fmla="*/ 3021272 w 6025971"/>
                <a:gd name="connsiteY20" fmla="*/ 6793670 h 6797829"/>
                <a:gd name="connsiteX21" fmla="*/ 3035805 w 6025971"/>
                <a:gd name="connsiteY21" fmla="*/ 6797829 h 6797829"/>
                <a:gd name="connsiteX22" fmla="*/ 1656512 w 6025971"/>
                <a:gd name="connsiteY22" fmla="*/ 6797829 h 6797829"/>
                <a:gd name="connsiteX23" fmla="*/ 1630254 w 6025971"/>
                <a:gd name="connsiteY23" fmla="*/ 6775222 h 6797829"/>
                <a:gd name="connsiteX24" fmla="*/ 892250 w 6025971"/>
                <a:gd name="connsiteY24" fmla="*/ 5902700 h 6797829"/>
                <a:gd name="connsiteX25" fmla="*/ 0 w 6025971"/>
                <a:gd name="connsiteY25" fmla="*/ 3998599 h 6797829"/>
                <a:gd name="connsiteX26" fmla="*/ 4493032 w 6025971"/>
                <a:gd name="connsiteY26" fmla="*/ 285 h 6797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25971" h="6797829">
                  <a:moveTo>
                    <a:pt x="6025971" y="5825635"/>
                  </a:moveTo>
                  <a:lnTo>
                    <a:pt x="6025971" y="6723285"/>
                  </a:lnTo>
                  <a:lnTo>
                    <a:pt x="5929386" y="6797829"/>
                  </a:lnTo>
                  <a:lnTo>
                    <a:pt x="4560411" y="6797829"/>
                  </a:lnTo>
                  <a:lnTo>
                    <a:pt x="4597731" y="6785305"/>
                  </a:lnTo>
                  <a:cubicBezTo>
                    <a:pt x="4964953" y="6637825"/>
                    <a:pt x="5315251" y="6379435"/>
                    <a:pt x="5736707" y="6050108"/>
                  </a:cubicBezTo>
                  <a:cubicBezTo>
                    <a:pt x="5812043" y="5991230"/>
                    <a:pt x="5887377" y="5933488"/>
                    <a:pt x="5960301" y="5876738"/>
                  </a:cubicBezTo>
                  <a:close/>
                  <a:moveTo>
                    <a:pt x="4493599" y="0"/>
                  </a:moveTo>
                  <a:cubicBezTo>
                    <a:pt x="5048011" y="0"/>
                    <a:pt x="5546284" y="111886"/>
                    <a:pt x="5981837" y="314220"/>
                  </a:cubicBezTo>
                  <a:lnTo>
                    <a:pt x="6025971" y="336254"/>
                  </a:lnTo>
                  <a:lnTo>
                    <a:pt x="6025971" y="1157325"/>
                  </a:lnTo>
                  <a:lnTo>
                    <a:pt x="5925889" y="1088522"/>
                  </a:lnTo>
                  <a:cubicBezTo>
                    <a:pt x="5847314" y="1040649"/>
                    <a:pt x="5765982" y="997036"/>
                    <a:pt x="5682227" y="957939"/>
                  </a:cubicBezTo>
                  <a:cubicBezTo>
                    <a:pt x="5327823" y="793222"/>
                    <a:pt x="4927595" y="709658"/>
                    <a:pt x="4493032" y="709658"/>
                  </a:cubicBezTo>
                  <a:cubicBezTo>
                    <a:pt x="4031940" y="709658"/>
                    <a:pt x="3564888" y="799465"/>
                    <a:pt x="3104646" y="976666"/>
                  </a:cubicBezTo>
                  <a:cubicBezTo>
                    <a:pt x="2655243" y="1149867"/>
                    <a:pt x="2238358" y="1397822"/>
                    <a:pt x="1871612" y="1710017"/>
                  </a:cubicBezTo>
                  <a:cubicBezTo>
                    <a:pt x="1506427" y="2022852"/>
                    <a:pt x="1219414" y="2378815"/>
                    <a:pt x="1018661" y="2767694"/>
                  </a:cubicBezTo>
                  <a:cubicBezTo>
                    <a:pt x="813368" y="3165227"/>
                    <a:pt x="709374" y="3579358"/>
                    <a:pt x="709374" y="3998599"/>
                  </a:cubicBezTo>
                  <a:cubicBezTo>
                    <a:pt x="709374" y="4421103"/>
                    <a:pt x="875510" y="4667680"/>
                    <a:pt x="1221258" y="5141684"/>
                  </a:cubicBezTo>
                  <a:cubicBezTo>
                    <a:pt x="1304681" y="5256035"/>
                    <a:pt x="1390941" y="5374217"/>
                    <a:pt x="1479187" y="5504459"/>
                  </a:cubicBezTo>
                  <a:cubicBezTo>
                    <a:pt x="1942790" y="6187719"/>
                    <a:pt x="2430063" y="6601673"/>
                    <a:pt x="3021272" y="6793670"/>
                  </a:cubicBezTo>
                  <a:lnTo>
                    <a:pt x="3035805" y="6797829"/>
                  </a:lnTo>
                  <a:lnTo>
                    <a:pt x="1656512" y="6797829"/>
                  </a:lnTo>
                  <a:lnTo>
                    <a:pt x="1630254" y="6775222"/>
                  </a:lnTo>
                  <a:cubicBezTo>
                    <a:pt x="1360562" y="6528765"/>
                    <a:pt x="1117699" y="6235219"/>
                    <a:pt x="892250" y="5902700"/>
                  </a:cubicBezTo>
                  <a:cubicBezTo>
                    <a:pt x="459249" y="5264548"/>
                    <a:pt x="0" y="4826722"/>
                    <a:pt x="0" y="3998599"/>
                  </a:cubicBezTo>
                  <a:cubicBezTo>
                    <a:pt x="0" y="1790460"/>
                    <a:pt x="2262336" y="285"/>
                    <a:pt x="4493032" y="2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9156" name="Rectangle 4">
            <a:extLst>
              <a:ext uri="{FF2B5EF4-FFF2-40B4-BE49-F238E27FC236}">
                <a16:creationId xmlns:a16="http://schemas.microsoft.com/office/drawing/2014/main" id="{9CA6C8C4-76BA-43FD-AEA0-DA1807F2BFB9}"/>
              </a:ext>
            </a:extLst>
          </p:cNvPr>
          <p:cNvSpPr>
            <a:spLocks noGrp="1" noChangeArrowheads="1"/>
          </p:cNvSpPr>
          <p:nvPr>
            <p:ph type="ctrTitle"/>
          </p:nvPr>
        </p:nvSpPr>
        <p:spPr>
          <a:xfrm>
            <a:off x="289368" y="1055098"/>
            <a:ext cx="6551270" cy="4747805"/>
          </a:xfrm>
        </p:spPr>
        <p:txBody>
          <a:bodyPr anchor="ctr">
            <a:normAutofit/>
          </a:bodyPr>
          <a:lstStyle/>
          <a:p>
            <a:pPr algn="l" eaLnBrk="1" hangingPunct="1">
              <a:defRPr/>
            </a:pPr>
            <a:r>
              <a:rPr lang="en-US" sz="4000" b="1" dirty="0">
                <a:solidFill>
                  <a:schemeClr val="tx2"/>
                </a:solidFill>
              </a:rPr>
              <a:t>EPA CLIMATE CHANGE UPDATE</a:t>
            </a:r>
          </a:p>
        </p:txBody>
      </p:sp>
      <p:sp>
        <p:nvSpPr>
          <p:cNvPr id="49157" name="Rectangle 5">
            <a:extLst>
              <a:ext uri="{FF2B5EF4-FFF2-40B4-BE49-F238E27FC236}">
                <a16:creationId xmlns:a16="http://schemas.microsoft.com/office/drawing/2014/main" id="{BE2EB2B4-8DED-43B5-B0FD-D52D49FD964D}"/>
              </a:ext>
            </a:extLst>
          </p:cNvPr>
          <p:cNvSpPr>
            <a:spLocks noGrp="1" noChangeArrowheads="1"/>
          </p:cNvSpPr>
          <p:nvPr>
            <p:ph type="subTitle" idx="1"/>
          </p:nvPr>
        </p:nvSpPr>
        <p:spPr>
          <a:xfrm>
            <a:off x="7845287" y="1638300"/>
            <a:ext cx="4344405" cy="3581400"/>
          </a:xfrm>
        </p:spPr>
        <p:txBody>
          <a:bodyPr anchor="ctr">
            <a:normAutofit/>
          </a:bodyPr>
          <a:lstStyle/>
          <a:p>
            <a:pPr algn="l" eaLnBrk="1" hangingPunct="1">
              <a:defRPr/>
            </a:pPr>
            <a:r>
              <a:rPr lang="en-US" altLang="en-US" b="1" dirty="0">
                <a:solidFill>
                  <a:schemeClr val="accent6">
                    <a:lumMod val="75000"/>
                  </a:schemeClr>
                </a:solidFill>
              </a:rPr>
              <a:t>Key Environmental Issues in U.S. EPA Region 2</a:t>
            </a:r>
          </a:p>
          <a:p>
            <a:pPr algn="l" eaLnBrk="1" hangingPunct="1">
              <a:defRPr/>
            </a:pPr>
            <a:endParaRPr lang="en-US" altLang="en-US" b="1" dirty="0">
              <a:solidFill>
                <a:schemeClr val="accent6">
                  <a:lumMod val="75000"/>
                </a:schemeClr>
              </a:solidFill>
            </a:endParaRPr>
          </a:p>
          <a:p>
            <a:pPr algn="l" eaLnBrk="1" hangingPunct="1">
              <a:defRPr/>
            </a:pPr>
            <a:r>
              <a:rPr lang="en-US" altLang="en-US" b="1" dirty="0">
                <a:solidFill>
                  <a:schemeClr val="accent6">
                    <a:lumMod val="75000"/>
                  </a:schemeClr>
                </a:solidFill>
              </a:rPr>
              <a:t>	May 19, 2023</a:t>
            </a:r>
          </a:p>
          <a:p>
            <a:pPr algn="l" eaLnBrk="1" hangingPunct="1">
              <a:defRPr/>
            </a:pPr>
            <a:r>
              <a:rPr lang="en-US" altLang="en-US" b="1" dirty="0">
                <a:solidFill>
                  <a:schemeClr val="accent6">
                    <a:lumMod val="75000"/>
                  </a:schemeClr>
                </a:solidFill>
              </a:rPr>
              <a:t>	Columbia Law School</a:t>
            </a:r>
          </a:p>
          <a:p>
            <a:pPr algn="l" eaLnBrk="1" hangingPunct="1">
              <a:defRPr/>
            </a:pPr>
            <a:endParaRPr lang="en-US" altLang="en-US" sz="1900" b="1" dirty="0">
              <a:solidFill>
                <a:schemeClr val="accent6">
                  <a:lumMod val="75000"/>
                </a:schemeClr>
              </a:solidFill>
            </a:endParaRPr>
          </a:p>
          <a:p>
            <a:pPr algn="l">
              <a:defRPr/>
            </a:pPr>
            <a:r>
              <a:rPr lang="en-US" altLang="en-US" sz="1900" dirty="0">
                <a:solidFill>
                  <a:schemeClr val="tx2"/>
                </a:solidFill>
              </a:rPr>
              <a:t>	</a:t>
            </a:r>
            <a:r>
              <a:rPr lang="en-US" altLang="en-US" sz="1900" b="1" dirty="0">
                <a:solidFill>
                  <a:schemeClr val="tx2"/>
                </a:solidFill>
              </a:rPr>
              <a:t>Joseph Siegel, EPA Region 2</a:t>
            </a:r>
          </a:p>
          <a:p>
            <a:pPr algn="l" eaLnBrk="1" hangingPunct="1">
              <a:defRPr/>
            </a:pPr>
            <a:endParaRPr lang="en-US" altLang="en-US" sz="1900" b="1" dirty="0">
              <a:solidFill>
                <a:schemeClr val="accent6">
                  <a:lumMod val="75000"/>
                </a:scheme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1C4F-5DC0-714D-F515-6C4426731127}"/>
              </a:ext>
            </a:extLst>
          </p:cNvPr>
          <p:cNvSpPr>
            <a:spLocks noGrp="1"/>
          </p:cNvSpPr>
          <p:nvPr>
            <p:ph type="title"/>
          </p:nvPr>
        </p:nvSpPr>
        <p:spPr>
          <a:xfrm>
            <a:off x="838200" y="50178"/>
            <a:ext cx="10515600" cy="1325563"/>
          </a:xfrm>
        </p:spPr>
        <p:txBody>
          <a:bodyPr>
            <a:normAutofit/>
          </a:bodyPr>
          <a:lstStyle/>
          <a:p>
            <a:r>
              <a:rPr lang="en-US" b="1" dirty="0">
                <a:solidFill>
                  <a:schemeClr val="accent1"/>
                </a:solidFill>
              </a:rPr>
              <a:t>METHANE – Supplemental Proposal- Oil and  Natural Gas Sector: </a:t>
            </a:r>
            <a:r>
              <a:rPr lang="en-US" sz="3200" b="1" dirty="0">
                <a:solidFill>
                  <a:schemeClr val="accent1"/>
                </a:solidFill>
              </a:rPr>
              <a:t>87 FR 74702 (Dec. 6, 2022)</a:t>
            </a:r>
          </a:p>
        </p:txBody>
      </p:sp>
      <p:pic>
        <p:nvPicPr>
          <p:cNvPr id="5" name="Content Placeholder 4">
            <a:extLst>
              <a:ext uri="{FF2B5EF4-FFF2-40B4-BE49-F238E27FC236}">
                <a16:creationId xmlns:a16="http://schemas.microsoft.com/office/drawing/2014/main" id="{DA6A9160-3037-7234-68B0-23D3BDE9EF78}"/>
              </a:ext>
            </a:extLst>
          </p:cNvPr>
          <p:cNvPicPr>
            <a:picLocks noGrp="1" noChangeAspect="1"/>
          </p:cNvPicPr>
          <p:nvPr>
            <p:ph idx="1"/>
          </p:nvPr>
        </p:nvPicPr>
        <p:blipFill>
          <a:blip r:embed="rId3"/>
          <a:stretch>
            <a:fillRect/>
          </a:stretch>
        </p:blipFill>
        <p:spPr>
          <a:xfrm>
            <a:off x="838199" y="1282390"/>
            <a:ext cx="10192473" cy="5525432"/>
          </a:xfrm>
        </p:spPr>
      </p:pic>
    </p:spTree>
    <p:extLst>
      <p:ext uri="{BB962C8B-B14F-4D97-AF65-F5344CB8AC3E}">
        <p14:creationId xmlns:p14="http://schemas.microsoft.com/office/powerpoint/2010/main" val="8046947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E7F71-C354-1FF8-8200-C40E02714ECD}"/>
              </a:ext>
            </a:extLst>
          </p:cNvPr>
          <p:cNvSpPr>
            <a:spLocks noGrp="1"/>
          </p:cNvSpPr>
          <p:nvPr>
            <p:ph type="title"/>
          </p:nvPr>
        </p:nvSpPr>
        <p:spPr>
          <a:xfrm>
            <a:off x="187124" y="0"/>
            <a:ext cx="11817752" cy="1325563"/>
          </a:xfrm>
        </p:spPr>
        <p:txBody>
          <a:bodyPr/>
          <a:lstStyle/>
          <a:p>
            <a:r>
              <a:rPr lang="en-US" b="1" dirty="0">
                <a:solidFill>
                  <a:schemeClr val="accent1"/>
                </a:solidFill>
              </a:rPr>
              <a:t>METHANE RULE: Addresses Interconnected System</a:t>
            </a:r>
          </a:p>
        </p:txBody>
      </p:sp>
      <p:pic>
        <p:nvPicPr>
          <p:cNvPr id="5" name="Content Placeholder 4">
            <a:extLst>
              <a:ext uri="{FF2B5EF4-FFF2-40B4-BE49-F238E27FC236}">
                <a16:creationId xmlns:a16="http://schemas.microsoft.com/office/drawing/2014/main" id="{B4F557B5-0644-04CF-8BAD-119F1F6AAE87}"/>
              </a:ext>
            </a:extLst>
          </p:cNvPr>
          <p:cNvPicPr>
            <a:picLocks noGrp="1" noChangeAspect="1"/>
          </p:cNvPicPr>
          <p:nvPr>
            <p:ph idx="1"/>
          </p:nvPr>
        </p:nvPicPr>
        <p:blipFill>
          <a:blip r:embed="rId2"/>
          <a:stretch>
            <a:fillRect/>
          </a:stretch>
        </p:blipFill>
        <p:spPr>
          <a:xfrm>
            <a:off x="838198" y="1170845"/>
            <a:ext cx="10435543" cy="5626571"/>
          </a:xfrm>
        </p:spPr>
      </p:pic>
    </p:spTree>
    <p:extLst>
      <p:ext uri="{BB962C8B-B14F-4D97-AF65-F5344CB8AC3E}">
        <p14:creationId xmlns:p14="http://schemas.microsoft.com/office/powerpoint/2010/main" val="110483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010CD-4CE2-0FCE-1E6E-8AC615A1D459}"/>
              </a:ext>
            </a:extLst>
          </p:cNvPr>
          <p:cNvSpPr>
            <a:spLocks noGrp="1"/>
          </p:cNvSpPr>
          <p:nvPr>
            <p:ph type="title"/>
          </p:nvPr>
        </p:nvSpPr>
        <p:spPr>
          <a:xfrm>
            <a:off x="314446" y="0"/>
            <a:ext cx="11563108" cy="1325563"/>
          </a:xfrm>
        </p:spPr>
        <p:txBody>
          <a:bodyPr/>
          <a:lstStyle/>
          <a:p>
            <a:r>
              <a:rPr lang="en-US" b="1" dirty="0">
                <a:solidFill>
                  <a:schemeClr val="accent1"/>
                </a:solidFill>
              </a:rPr>
              <a:t>METHANE RULE: Environmental Justice Impacts</a:t>
            </a:r>
          </a:p>
        </p:txBody>
      </p:sp>
      <p:pic>
        <p:nvPicPr>
          <p:cNvPr id="5" name="Content Placeholder 4">
            <a:extLst>
              <a:ext uri="{FF2B5EF4-FFF2-40B4-BE49-F238E27FC236}">
                <a16:creationId xmlns:a16="http://schemas.microsoft.com/office/drawing/2014/main" id="{9C8C0918-BF25-34AF-4C9E-2BE7C4435AA9}"/>
              </a:ext>
            </a:extLst>
          </p:cNvPr>
          <p:cNvPicPr>
            <a:picLocks noGrp="1" noChangeAspect="1"/>
          </p:cNvPicPr>
          <p:nvPr>
            <p:ph idx="1"/>
          </p:nvPr>
        </p:nvPicPr>
        <p:blipFill>
          <a:blip r:embed="rId2"/>
          <a:stretch>
            <a:fillRect/>
          </a:stretch>
        </p:blipFill>
        <p:spPr>
          <a:xfrm>
            <a:off x="1384585" y="1105227"/>
            <a:ext cx="9333572" cy="5083166"/>
          </a:xfrm>
        </p:spPr>
      </p:pic>
    </p:spTree>
    <p:extLst>
      <p:ext uri="{BB962C8B-B14F-4D97-AF65-F5344CB8AC3E}">
        <p14:creationId xmlns:p14="http://schemas.microsoft.com/office/powerpoint/2010/main" val="15401381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04D79-93D7-CBFE-A7D6-7F489D830FFA}"/>
              </a:ext>
            </a:extLst>
          </p:cNvPr>
          <p:cNvSpPr>
            <a:spLocks noGrp="1"/>
          </p:cNvSpPr>
          <p:nvPr>
            <p:ph type="title"/>
          </p:nvPr>
        </p:nvSpPr>
        <p:spPr>
          <a:xfrm>
            <a:off x="659130" y="-318949"/>
            <a:ext cx="10515600" cy="1581374"/>
          </a:xfrm>
        </p:spPr>
        <p:txBody>
          <a:bodyPr/>
          <a:lstStyle/>
          <a:p>
            <a:r>
              <a:rPr lang="en-US" dirty="0"/>
              <a:t>		</a:t>
            </a:r>
            <a:r>
              <a:rPr lang="en-US" b="1" dirty="0">
                <a:solidFill>
                  <a:schemeClr val="accent1"/>
                </a:solidFill>
              </a:rPr>
              <a:t>		Methane RULE: BENEFITS</a:t>
            </a:r>
          </a:p>
        </p:txBody>
      </p:sp>
      <p:pic>
        <p:nvPicPr>
          <p:cNvPr id="5" name="Content Placeholder 4">
            <a:extLst>
              <a:ext uri="{FF2B5EF4-FFF2-40B4-BE49-F238E27FC236}">
                <a16:creationId xmlns:a16="http://schemas.microsoft.com/office/drawing/2014/main" id="{6C6A3396-84B4-0DFE-8F3A-9F298713F008}"/>
              </a:ext>
            </a:extLst>
          </p:cNvPr>
          <p:cNvPicPr>
            <a:picLocks noGrp="1" noChangeAspect="1"/>
          </p:cNvPicPr>
          <p:nvPr>
            <p:ph idx="1"/>
          </p:nvPr>
        </p:nvPicPr>
        <p:blipFill>
          <a:blip r:embed="rId2"/>
          <a:stretch>
            <a:fillRect/>
          </a:stretch>
        </p:blipFill>
        <p:spPr>
          <a:xfrm>
            <a:off x="752354" y="916853"/>
            <a:ext cx="10780516" cy="5831833"/>
          </a:xfrm>
        </p:spPr>
      </p:pic>
    </p:spTree>
    <p:extLst>
      <p:ext uri="{BB962C8B-B14F-4D97-AF65-F5344CB8AC3E}">
        <p14:creationId xmlns:p14="http://schemas.microsoft.com/office/powerpoint/2010/main" val="22788931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AC24BF-8EB4-31A6-294F-68B84F14DCCD}"/>
              </a:ext>
            </a:extLst>
          </p:cNvPr>
          <p:cNvSpPr>
            <a:spLocks noGrp="1"/>
          </p:cNvSpPr>
          <p:nvPr>
            <p:ph type="title"/>
          </p:nvPr>
        </p:nvSpPr>
        <p:spPr>
          <a:xfrm>
            <a:off x="518984" y="365125"/>
            <a:ext cx="11170508" cy="1325563"/>
          </a:xfrm>
        </p:spPr>
        <p:txBody>
          <a:bodyPr>
            <a:normAutofit fontScale="90000"/>
          </a:bodyPr>
          <a:lstStyle/>
          <a:p>
            <a:r>
              <a:rPr lang="en-US" b="1" dirty="0">
                <a:solidFill>
                  <a:srgbClr val="7030A0"/>
                </a:solidFill>
              </a:rPr>
              <a:t>GHG Motor Vehicle Rules: Light/Medium Duty </a:t>
            </a:r>
            <a:r>
              <a:rPr lang="en-US" sz="3100" dirty="0"/>
              <a:t>88 FR 29184  (May 5, 2023)</a:t>
            </a:r>
            <a:r>
              <a:rPr lang="en-US" dirty="0"/>
              <a:t>; </a:t>
            </a:r>
            <a:r>
              <a:rPr lang="en-US" b="1" dirty="0">
                <a:solidFill>
                  <a:srgbClr val="7030A0"/>
                </a:solidFill>
              </a:rPr>
              <a:t>Heavy Duty </a:t>
            </a:r>
            <a:r>
              <a:rPr lang="en-US" sz="3100" dirty="0"/>
              <a:t>88 FR 25926 (April 27, 2023)</a:t>
            </a:r>
          </a:p>
        </p:txBody>
      </p:sp>
      <p:pic>
        <p:nvPicPr>
          <p:cNvPr id="8" name="Content Placeholder 7">
            <a:extLst>
              <a:ext uri="{FF2B5EF4-FFF2-40B4-BE49-F238E27FC236}">
                <a16:creationId xmlns:a16="http://schemas.microsoft.com/office/drawing/2014/main" id="{8C5EAEC8-F30F-FDBD-D34F-E6769131C4B9}"/>
              </a:ext>
            </a:extLst>
          </p:cNvPr>
          <p:cNvPicPr>
            <a:picLocks noGrp="1" noChangeAspect="1"/>
          </p:cNvPicPr>
          <p:nvPr>
            <p:ph sz="half" idx="1"/>
          </p:nvPr>
        </p:nvPicPr>
        <p:blipFill>
          <a:blip r:embed="rId3"/>
          <a:stretch>
            <a:fillRect/>
          </a:stretch>
        </p:blipFill>
        <p:spPr>
          <a:xfrm>
            <a:off x="0" y="1817235"/>
            <a:ext cx="6808487" cy="3780376"/>
          </a:xfrm>
        </p:spPr>
      </p:pic>
      <p:pic>
        <p:nvPicPr>
          <p:cNvPr id="10" name="Content Placeholder 9">
            <a:extLst>
              <a:ext uri="{FF2B5EF4-FFF2-40B4-BE49-F238E27FC236}">
                <a16:creationId xmlns:a16="http://schemas.microsoft.com/office/drawing/2014/main" id="{9917D4D3-B6EA-B2E8-5E6C-A6FA5B686390}"/>
              </a:ext>
            </a:extLst>
          </p:cNvPr>
          <p:cNvPicPr>
            <a:picLocks noGrp="1" noChangeAspect="1"/>
          </p:cNvPicPr>
          <p:nvPr>
            <p:ph sz="half" idx="2"/>
          </p:nvPr>
        </p:nvPicPr>
        <p:blipFill>
          <a:blip r:embed="rId4"/>
          <a:stretch>
            <a:fillRect/>
          </a:stretch>
        </p:blipFill>
        <p:spPr>
          <a:xfrm>
            <a:off x="4975174" y="2927080"/>
            <a:ext cx="7010879" cy="3780376"/>
          </a:xfrm>
        </p:spPr>
      </p:pic>
    </p:spTree>
    <p:extLst>
      <p:ext uri="{BB962C8B-B14F-4D97-AF65-F5344CB8AC3E}">
        <p14:creationId xmlns:p14="http://schemas.microsoft.com/office/powerpoint/2010/main" val="1498693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A52A1-9336-5C4E-4AA9-07F757BBA3A3}"/>
              </a:ext>
            </a:extLst>
          </p:cNvPr>
          <p:cNvSpPr>
            <a:spLocks noGrp="1"/>
          </p:cNvSpPr>
          <p:nvPr>
            <p:ph type="title"/>
          </p:nvPr>
        </p:nvSpPr>
        <p:spPr>
          <a:xfrm>
            <a:off x="838200" y="1"/>
            <a:ext cx="10515600" cy="1319514"/>
          </a:xfrm>
        </p:spPr>
        <p:txBody>
          <a:bodyPr>
            <a:normAutofit/>
          </a:bodyPr>
          <a:lstStyle/>
          <a:p>
            <a:r>
              <a:rPr lang="en-US" sz="3200" b="1" dirty="0">
                <a:solidFill>
                  <a:srgbClr val="7030A0"/>
                </a:solidFill>
              </a:rPr>
              <a:t>Projected Industry Fleet Average for Light Duty Vehicles g/mile compared to current MY 2026 standard (est. in 2021)</a:t>
            </a:r>
          </a:p>
        </p:txBody>
      </p:sp>
      <p:pic>
        <p:nvPicPr>
          <p:cNvPr id="5" name="Content Placeholder 4">
            <a:extLst>
              <a:ext uri="{FF2B5EF4-FFF2-40B4-BE49-F238E27FC236}">
                <a16:creationId xmlns:a16="http://schemas.microsoft.com/office/drawing/2014/main" id="{9B862550-D3F4-EDE4-001F-B8B9DB1CA1AB}"/>
              </a:ext>
            </a:extLst>
          </p:cNvPr>
          <p:cNvPicPr>
            <a:picLocks noGrp="1" noChangeAspect="1"/>
          </p:cNvPicPr>
          <p:nvPr>
            <p:ph idx="1"/>
          </p:nvPr>
        </p:nvPicPr>
        <p:blipFill>
          <a:blip r:embed="rId3"/>
          <a:stretch>
            <a:fillRect/>
          </a:stretch>
        </p:blipFill>
        <p:spPr>
          <a:xfrm>
            <a:off x="2951544" y="1149526"/>
            <a:ext cx="6736465" cy="5708474"/>
          </a:xfrm>
        </p:spPr>
      </p:pic>
    </p:spTree>
    <p:extLst>
      <p:ext uri="{BB962C8B-B14F-4D97-AF65-F5344CB8AC3E}">
        <p14:creationId xmlns:p14="http://schemas.microsoft.com/office/powerpoint/2010/main" val="3114074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35B6C-A76F-820E-E3AF-B6B049CBC8E7}"/>
              </a:ext>
            </a:extLst>
          </p:cNvPr>
          <p:cNvSpPr>
            <a:spLocks noGrp="1"/>
          </p:cNvSpPr>
          <p:nvPr>
            <p:ph type="title"/>
          </p:nvPr>
        </p:nvSpPr>
        <p:spPr/>
        <p:txBody>
          <a:bodyPr/>
          <a:lstStyle/>
          <a:p>
            <a:r>
              <a:rPr lang="en-US" b="1" dirty="0">
                <a:solidFill>
                  <a:srgbClr val="7030A0"/>
                </a:solidFill>
              </a:rPr>
              <a:t>Light and Medium-Duty Vehicles: Proposed Rule for MY 2027-2032 (May 5, 2023)</a:t>
            </a:r>
          </a:p>
        </p:txBody>
      </p:sp>
      <p:sp>
        <p:nvSpPr>
          <p:cNvPr id="3" name="Content Placeholder 2">
            <a:extLst>
              <a:ext uri="{FF2B5EF4-FFF2-40B4-BE49-F238E27FC236}">
                <a16:creationId xmlns:a16="http://schemas.microsoft.com/office/drawing/2014/main" id="{DEE3ED6E-127E-DE5B-5D90-3F9C5696C220}"/>
              </a:ext>
            </a:extLst>
          </p:cNvPr>
          <p:cNvSpPr>
            <a:spLocks noGrp="1"/>
          </p:cNvSpPr>
          <p:nvPr>
            <p:ph idx="1"/>
          </p:nvPr>
        </p:nvSpPr>
        <p:spPr/>
        <p:txBody>
          <a:bodyPr>
            <a:normAutofit/>
          </a:bodyPr>
          <a:lstStyle/>
          <a:p>
            <a:r>
              <a:rPr lang="en-US" dirty="0"/>
              <a:t>Light Duty Vehicles: 56% Reduction in industry fleetwide average compared with 2026 by 2032</a:t>
            </a:r>
          </a:p>
          <a:p>
            <a:r>
              <a:rPr lang="en-US" dirty="0"/>
              <a:t>Medium Duty Vehicles: 44% Reduction in industry fleetwide average compared with 2026 by 2032</a:t>
            </a:r>
          </a:p>
          <a:p>
            <a:r>
              <a:rPr lang="en-US" i="0" u="none" strike="noStrike" baseline="0" dirty="0">
                <a:solidFill>
                  <a:srgbClr val="211D1E"/>
                </a:solidFill>
                <a:latin typeface="Calibri" panose="020F0502020204030204" pitchFamily="34" charset="0"/>
                <a:cs typeface="Calibri" panose="020F0502020204030204" pitchFamily="34" charset="0"/>
              </a:rPr>
              <a:t>The vehicle technology costs of this proposal range from $180 billion to $280 billion, but the program also would have additional social benefits from fuel savings of $450 billion to $890 billion through 2055, and repair and maintenance savings (stemming from lower maintenance and repair of electric vehicles compared to gasoline vehicles) estimated through 2055 at $280 billion to $580 billion.</a:t>
            </a:r>
            <a:endParaRPr lang="en-US" dirty="0">
              <a:solidFill>
                <a:srgbClr val="211D1E"/>
              </a:solidFill>
              <a:latin typeface="Calibri" panose="020F0502020204030204" pitchFamily="34" charset="0"/>
              <a:cs typeface="Calibri" panose="020F0502020204030204" pitchFamily="34" charset="0"/>
            </a:endParaRPr>
          </a:p>
          <a:p>
            <a:endParaRPr lang="en-US" dirty="0"/>
          </a:p>
        </p:txBody>
      </p:sp>
    </p:spTree>
    <p:extLst>
      <p:ext uri="{BB962C8B-B14F-4D97-AF65-F5344CB8AC3E}">
        <p14:creationId xmlns:p14="http://schemas.microsoft.com/office/powerpoint/2010/main" val="14942287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35B6C-A76F-820E-E3AF-B6B049CBC8E7}"/>
              </a:ext>
            </a:extLst>
          </p:cNvPr>
          <p:cNvSpPr>
            <a:spLocks noGrp="1"/>
          </p:cNvSpPr>
          <p:nvPr>
            <p:ph type="title"/>
          </p:nvPr>
        </p:nvSpPr>
        <p:spPr/>
        <p:txBody>
          <a:bodyPr/>
          <a:lstStyle/>
          <a:p>
            <a:r>
              <a:rPr lang="en-US" b="1" dirty="0">
                <a:solidFill>
                  <a:srgbClr val="7030A0"/>
                </a:solidFill>
              </a:rPr>
              <a:t>Heavy-Duty Vehicles: Proposed Rule for MY 2027-2032 (April 27, 2023)</a:t>
            </a:r>
          </a:p>
        </p:txBody>
      </p:sp>
      <p:sp>
        <p:nvSpPr>
          <p:cNvPr id="3" name="Content Placeholder 2">
            <a:extLst>
              <a:ext uri="{FF2B5EF4-FFF2-40B4-BE49-F238E27FC236}">
                <a16:creationId xmlns:a16="http://schemas.microsoft.com/office/drawing/2014/main" id="{DEE3ED6E-127E-DE5B-5D90-3F9C5696C220}"/>
              </a:ext>
            </a:extLst>
          </p:cNvPr>
          <p:cNvSpPr>
            <a:spLocks noGrp="1"/>
          </p:cNvSpPr>
          <p:nvPr>
            <p:ph idx="1"/>
          </p:nvPr>
        </p:nvSpPr>
        <p:spPr/>
        <p:txBody>
          <a:bodyPr>
            <a:normAutofit fontScale="92500"/>
          </a:bodyPr>
          <a:lstStyle/>
          <a:p>
            <a:r>
              <a:rPr lang="en-US" dirty="0"/>
              <a:t>Standards differentiated by vehicle type and use</a:t>
            </a:r>
          </a:p>
          <a:p>
            <a:r>
              <a:rPr lang="en-US" dirty="0"/>
              <a:t>Allows averaging, banking and trading</a:t>
            </a:r>
          </a:p>
          <a:p>
            <a:r>
              <a:rPr lang="en-US" dirty="0"/>
              <a:t> Avoid approximately 1.8 billion metric tons of greenhouse gas emissions from 2027 through 2055</a:t>
            </a:r>
          </a:p>
          <a:p>
            <a:r>
              <a:rPr lang="en-US" dirty="0"/>
              <a:t>EPA estimates that the total benefits of this proposal far exceed the total costs, by as much as $320 billion. </a:t>
            </a:r>
          </a:p>
          <a:p>
            <a:r>
              <a:rPr lang="en-US" dirty="0"/>
              <a:t>Society would realize approximately $87 billion in climate benefits and up to $29 billion in benefits from fewer premature death and serious health effects such as hospital admissions due to respiratory and cardiovascular illnesses, and approximately $12 billion in reduced reliance on oil imports. </a:t>
            </a:r>
          </a:p>
        </p:txBody>
      </p:sp>
    </p:spTree>
    <p:extLst>
      <p:ext uri="{BB962C8B-B14F-4D97-AF65-F5344CB8AC3E}">
        <p14:creationId xmlns:p14="http://schemas.microsoft.com/office/powerpoint/2010/main" val="688682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E3215-33A7-F748-45B9-A2B8FF0064FC}"/>
              </a:ext>
            </a:extLst>
          </p:cNvPr>
          <p:cNvSpPr>
            <a:spLocks noGrp="1"/>
          </p:cNvSpPr>
          <p:nvPr>
            <p:ph type="title"/>
          </p:nvPr>
        </p:nvSpPr>
        <p:spPr>
          <a:xfrm>
            <a:off x="1197016" y="0"/>
            <a:ext cx="10515600" cy="1325563"/>
          </a:xfrm>
        </p:spPr>
        <p:txBody>
          <a:bodyPr/>
          <a:lstStyle/>
          <a:p>
            <a:r>
              <a:rPr lang="en-US" b="1" dirty="0">
                <a:solidFill>
                  <a:schemeClr val="accent1"/>
                </a:solidFill>
              </a:rPr>
              <a:t>		</a:t>
            </a:r>
            <a:r>
              <a:rPr lang="en-US" b="1" dirty="0">
                <a:solidFill>
                  <a:schemeClr val="accent2"/>
                </a:solidFill>
              </a:rPr>
              <a:t>	POWER SECTOR- Proposed Rule 					</a:t>
            </a:r>
            <a:r>
              <a:rPr lang="en-US" sz="2800" b="1" dirty="0">
                <a:solidFill>
                  <a:schemeClr val="accent2"/>
                </a:solidFill>
              </a:rPr>
              <a:t>(not yet published)</a:t>
            </a:r>
          </a:p>
        </p:txBody>
      </p:sp>
      <p:pic>
        <p:nvPicPr>
          <p:cNvPr id="5" name="Content Placeholder 4">
            <a:extLst>
              <a:ext uri="{FF2B5EF4-FFF2-40B4-BE49-F238E27FC236}">
                <a16:creationId xmlns:a16="http://schemas.microsoft.com/office/drawing/2014/main" id="{C556C20C-F56F-80BA-35F1-58B5C51B68FA}"/>
              </a:ext>
            </a:extLst>
          </p:cNvPr>
          <p:cNvPicPr>
            <a:picLocks noGrp="1" noChangeAspect="1"/>
          </p:cNvPicPr>
          <p:nvPr>
            <p:ph idx="1"/>
          </p:nvPr>
        </p:nvPicPr>
        <p:blipFill>
          <a:blip r:embed="rId3"/>
          <a:stretch>
            <a:fillRect/>
          </a:stretch>
        </p:blipFill>
        <p:spPr>
          <a:xfrm>
            <a:off x="838200" y="1236366"/>
            <a:ext cx="10515600" cy="5445387"/>
          </a:xfrm>
        </p:spPr>
      </p:pic>
    </p:spTree>
    <p:extLst>
      <p:ext uri="{BB962C8B-B14F-4D97-AF65-F5344CB8AC3E}">
        <p14:creationId xmlns:p14="http://schemas.microsoft.com/office/powerpoint/2010/main" val="2024461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627DE-B34B-C9CC-CE80-C01102D9756C}"/>
              </a:ext>
            </a:extLst>
          </p:cNvPr>
          <p:cNvSpPr>
            <a:spLocks noGrp="1"/>
          </p:cNvSpPr>
          <p:nvPr>
            <p:ph type="title"/>
          </p:nvPr>
        </p:nvSpPr>
        <p:spPr>
          <a:xfrm>
            <a:off x="838200" y="120090"/>
            <a:ext cx="10515600" cy="1325563"/>
          </a:xfrm>
        </p:spPr>
        <p:txBody>
          <a:bodyPr/>
          <a:lstStyle/>
          <a:p>
            <a:r>
              <a:rPr lang="en-US" b="1" dirty="0">
                <a:solidFill>
                  <a:schemeClr val="accent2"/>
                </a:solidFill>
              </a:rPr>
              <a:t>POWER SECTOR: CLEAN AIR ACT Section 111</a:t>
            </a:r>
            <a:endParaRPr lang="en-US" dirty="0"/>
          </a:p>
        </p:txBody>
      </p:sp>
      <p:pic>
        <p:nvPicPr>
          <p:cNvPr id="5" name="Content Placeholder 4">
            <a:extLst>
              <a:ext uri="{FF2B5EF4-FFF2-40B4-BE49-F238E27FC236}">
                <a16:creationId xmlns:a16="http://schemas.microsoft.com/office/drawing/2014/main" id="{A5044842-AB57-9DCA-ACC9-A191820DA177}"/>
              </a:ext>
            </a:extLst>
          </p:cNvPr>
          <p:cNvPicPr>
            <a:picLocks noGrp="1" noChangeAspect="1"/>
          </p:cNvPicPr>
          <p:nvPr>
            <p:ph idx="1"/>
          </p:nvPr>
        </p:nvPicPr>
        <p:blipFill>
          <a:blip r:embed="rId2"/>
          <a:stretch>
            <a:fillRect/>
          </a:stretch>
        </p:blipFill>
        <p:spPr>
          <a:xfrm>
            <a:off x="1131382" y="1445652"/>
            <a:ext cx="10084485" cy="5297252"/>
          </a:xfrm>
        </p:spPr>
      </p:pic>
    </p:spTree>
    <p:extLst>
      <p:ext uri="{BB962C8B-B14F-4D97-AF65-F5344CB8AC3E}">
        <p14:creationId xmlns:p14="http://schemas.microsoft.com/office/powerpoint/2010/main" val="1977070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4BC99CB9-DDAD-44A2-8A1C-E3AF4E72DF5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4053CBF-3932-45FF-8285-EE5146085F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695" cy="6858000"/>
          </a:xfrm>
          <a:prstGeom prst="rect">
            <a:avLst/>
          </a:prstGeom>
          <a:gradFill flip="none" rotWithShape="1">
            <a:gsLst>
              <a:gs pos="16000">
                <a:schemeClr val="accent6">
                  <a:alpha val="20000"/>
                </a:schemeClr>
              </a:gs>
              <a:gs pos="85000">
                <a:schemeClr val="accent1">
                  <a:alpha val="40000"/>
                </a:schemeClr>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2E751C04-BEA6-446B-A678-9C74819EBD4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8230" y="-8167"/>
            <a:ext cx="4834070" cy="2488150"/>
            <a:chOff x="6867015" y="-1"/>
            <a:chExt cx="5324985" cy="3251912"/>
          </a:xfrm>
          <a:solidFill>
            <a:schemeClr val="bg1">
              <a:alpha val="30000"/>
            </a:schemeClr>
          </a:solidFill>
        </p:grpSpPr>
        <p:sp>
          <p:nvSpPr>
            <p:cNvPr id="13" name="Freeform: Shape 12">
              <a:extLst>
                <a:ext uri="{FF2B5EF4-FFF2-40B4-BE49-F238E27FC236}">
                  <a16:creationId xmlns:a16="http://schemas.microsoft.com/office/drawing/2014/main" id="{2625A013-D9BE-43C4-AF21-6F2B003EFBE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867015" y="-1"/>
              <a:ext cx="5324985" cy="3251912"/>
            </a:xfrm>
            <a:custGeom>
              <a:avLst/>
              <a:gdLst>
                <a:gd name="connsiteX0" fmla="*/ 0 w 5324985"/>
                <a:gd name="connsiteY0" fmla="*/ 0 h 3251912"/>
                <a:gd name="connsiteX1" fmla="*/ 36826 w 5324985"/>
                <a:gd name="connsiteY1" fmla="*/ 0 h 3251912"/>
                <a:gd name="connsiteX2" fmla="*/ 45003 w 5324985"/>
                <a:gd name="connsiteY2" fmla="*/ 152909 h 3251912"/>
                <a:gd name="connsiteX3" fmla="*/ 68956 w 5324985"/>
                <a:gd name="connsiteY3" fmla="*/ 308600 h 3251912"/>
                <a:gd name="connsiteX4" fmla="*/ 167774 w 5324985"/>
                <a:gd name="connsiteY4" fmla="*/ 607968 h 3251912"/>
                <a:gd name="connsiteX5" fmla="*/ 201857 w 5324985"/>
                <a:gd name="connsiteY5" fmla="*/ 679539 h 3251912"/>
                <a:gd name="connsiteX6" fmla="*/ 239741 w 5324985"/>
                <a:gd name="connsiteY6" fmla="*/ 749488 h 3251912"/>
                <a:gd name="connsiteX7" fmla="*/ 323724 w 5324985"/>
                <a:gd name="connsiteY7" fmla="*/ 885101 h 3251912"/>
                <a:gd name="connsiteX8" fmla="*/ 416412 w 5324985"/>
                <a:gd name="connsiteY8" fmla="*/ 1016081 h 3251912"/>
                <a:gd name="connsiteX9" fmla="*/ 515719 w 5324985"/>
                <a:gd name="connsiteY9" fmla="*/ 1143356 h 3251912"/>
                <a:gd name="connsiteX10" fmla="*/ 722427 w 5324985"/>
                <a:gd name="connsiteY10" fmla="*/ 1395127 h 3251912"/>
                <a:gd name="connsiteX11" fmla="*/ 825780 w 5324985"/>
                <a:gd name="connsiteY11" fmla="*/ 1522749 h 3251912"/>
                <a:gd name="connsiteX12" fmla="*/ 926314 w 5324985"/>
                <a:gd name="connsiteY12" fmla="*/ 1651992 h 3251912"/>
                <a:gd name="connsiteX13" fmla="*/ 1026848 w 5324985"/>
                <a:gd name="connsiteY13" fmla="*/ 1776836 h 3251912"/>
                <a:gd name="connsiteX14" fmla="*/ 1131918 w 5324985"/>
                <a:gd name="connsiteY14" fmla="*/ 1897393 h 3251912"/>
                <a:gd name="connsiteX15" fmla="*/ 1354688 w 5324985"/>
                <a:gd name="connsiteY15" fmla="*/ 2124728 h 3251912"/>
                <a:gd name="connsiteX16" fmla="*/ 1855027 w 5324985"/>
                <a:gd name="connsiteY16" fmla="*/ 2504236 h 3251912"/>
                <a:gd name="connsiteX17" fmla="*/ 2131618 w 5324985"/>
                <a:gd name="connsiteY17" fmla="*/ 2646913 h 3251912"/>
                <a:gd name="connsiteX18" fmla="*/ 2423534 w 5324985"/>
                <a:gd name="connsiteY18" fmla="*/ 2754732 h 3251912"/>
                <a:gd name="connsiteX19" fmla="*/ 2727588 w 5324985"/>
                <a:gd name="connsiteY19" fmla="*/ 2829197 h 3251912"/>
                <a:gd name="connsiteX20" fmla="*/ 3041083 w 5324985"/>
                <a:gd name="connsiteY20" fmla="*/ 2870890 h 3251912"/>
                <a:gd name="connsiteX21" fmla="*/ 3360340 w 5324985"/>
                <a:gd name="connsiteY21" fmla="*/ 2883976 h 3251912"/>
                <a:gd name="connsiteX22" fmla="*/ 3439663 w 5324985"/>
                <a:gd name="connsiteY22" fmla="*/ 2883396 h 3251912"/>
                <a:gd name="connsiteX23" fmla="*/ 3478529 w 5324985"/>
                <a:gd name="connsiteY23" fmla="*/ 2882471 h 3251912"/>
                <a:gd name="connsiteX24" fmla="*/ 3517271 w 5324985"/>
                <a:gd name="connsiteY24" fmla="*/ 2880616 h 3251912"/>
                <a:gd name="connsiteX25" fmla="*/ 3671260 w 5324985"/>
                <a:gd name="connsiteY25" fmla="*/ 2867878 h 3251912"/>
                <a:gd name="connsiteX26" fmla="*/ 4265268 w 5324985"/>
                <a:gd name="connsiteY26" fmla="*/ 2716283 h 3251912"/>
                <a:gd name="connsiteX27" fmla="*/ 4546395 w 5324985"/>
                <a:gd name="connsiteY27" fmla="*/ 2584724 h 3251912"/>
                <a:gd name="connsiteX28" fmla="*/ 4817837 w 5324985"/>
                <a:gd name="connsiteY28" fmla="*/ 2424674 h 3251912"/>
                <a:gd name="connsiteX29" fmla="*/ 5081677 w 5324985"/>
                <a:gd name="connsiteY29" fmla="*/ 2243548 h 3251912"/>
                <a:gd name="connsiteX30" fmla="*/ 5211881 w 5324985"/>
                <a:gd name="connsiteY30" fmla="*/ 2147658 h 3251912"/>
                <a:gd name="connsiteX31" fmla="*/ 5324985 w 5324985"/>
                <a:gd name="connsiteY31" fmla="*/ 2062128 h 3251912"/>
                <a:gd name="connsiteX32" fmla="*/ 5324985 w 5324985"/>
                <a:gd name="connsiteY32" fmla="*/ 2514993 h 3251912"/>
                <a:gd name="connsiteX33" fmla="*/ 5314867 w 5324985"/>
                <a:gd name="connsiteY33" fmla="*/ 2522881 h 3251912"/>
                <a:gd name="connsiteX34" fmla="*/ 5038276 w 5324985"/>
                <a:gd name="connsiteY34" fmla="*/ 2722421 h 3251912"/>
                <a:gd name="connsiteX35" fmla="*/ 4741701 w 5324985"/>
                <a:gd name="connsiteY35" fmla="*/ 2904937 h 3251912"/>
                <a:gd name="connsiteX36" fmla="*/ 4420728 w 5324985"/>
                <a:gd name="connsiteY36" fmla="*/ 3058848 h 3251912"/>
                <a:gd name="connsiteX37" fmla="*/ 3717481 w 5324985"/>
                <a:gd name="connsiteY37" fmla="*/ 3237079 h 3251912"/>
                <a:gd name="connsiteX38" fmla="*/ 3535661 w 5324985"/>
                <a:gd name="connsiteY38" fmla="*/ 3249934 h 3251912"/>
                <a:gd name="connsiteX39" fmla="*/ 3490175 w 5324985"/>
                <a:gd name="connsiteY39" fmla="*/ 3251555 h 3251912"/>
                <a:gd name="connsiteX40" fmla="*/ 3444813 w 5324985"/>
                <a:gd name="connsiteY40" fmla="*/ 3251787 h 3251912"/>
                <a:gd name="connsiteX41" fmla="*/ 3355681 w 5324985"/>
                <a:gd name="connsiteY41" fmla="*/ 3250745 h 3251912"/>
                <a:gd name="connsiteX42" fmla="*/ 3179011 w 5324985"/>
                <a:gd name="connsiteY42" fmla="*/ 3243795 h 3251912"/>
                <a:gd name="connsiteX43" fmla="*/ 3002217 w 5324985"/>
                <a:gd name="connsiteY43" fmla="*/ 3227814 h 3251912"/>
                <a:gd name="connsiteX44" fmla="*/ 2650103 w 5324985"/>
                <a:gd name="connsiteY44" fmla="*/ 3170836 h 3251912"/>
                <a:gd name="connsiteX45" fmla="*/ 2305836 w 5324985"/>
                <a:gd name="connsiteY45" fmla="*/ 3072514 h 3251912"/>
                <a:gd name="connsiteX46" fmla="*/ 1978611 w 5324985"/>
                <a:gd name="connsiteY46" fmla="*/ 2929952 h 3251912"/>
                <a:gd name="connsiteX47" fmla="*/ 1678235 w 5324985"/>
                <a:gd name="connsiteY47" fmla="*/ 2744424 h 3251912"/>
                <a:gd name="connsiteX48" fmla="*/ 1175688 w 5324985"/>
                <a:gd name="connsiteY48" fmla="*/ 2277018 h 3251912"/>
                <a:gd name="connsiteX49" fmla="*/ 971310 w 5324985"/>
                <a:gd name="connsiteY49" fmla="*/ 2012044 h 3251912"/>
                <a:gd name="connsiteX50" fmla="*/ 790717 w 5324985"/>
                <a:gd name="connsiteY50" fmla="*/ 1735723 h 3251912"/>
                <a:gd name="connsiteX51" fmla="*/ 706488 w 5324985"/>
                <a:gd name="connsiteY51" fmla="*/ 1598604 h 3251912"/>
                <a:gd name="connsiteX52" fmla="*/ 618951 w 5324985"/>
                <a:gd name="connsiteY52" fmla="*/ 1463802 h 3251912"/>
                <a:gd name="connsiteX53" fmla="*/ 436273 w 5324985"/>
                <a:gd name="connsiteY53" fmla="*/ 1195355 h 3251912"/>
                <a:gd name="connsiteX54" fmla="*/ 346896 w 5324985"/>
                <a:gd name="connsiteY54" fmla="*/ 1058816 h 3251912"/>
                <a:gd name="connsiteX55" fmla="*/ 261809 w 5324985"/>
                <a:gd name="connsiteY55" fmla="*/ 919264 h 3251912"/>
                <a:gd name="connsiteX56" fmla="*/ 118487 w 5324985"/>
                <a:gd name="connsiteY56" fmla="*/ 626498 h 3251912"/>
                <a:gd name="connsiteX57" fmla="*/ 28130 w 5324985"/>
                <a:gd name="connsiteY57" fmla="*/ 315781 h 3251912"/>
                <a:gd name="connsiteX58" fmla="*/ 6751 w 5324985"/>
                <a:gd name="connsiteY58" fmla="*/ 156195 h 325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324985" h="3251912">
                  <a:moveTo>
                    <a:pt x="0" y="0"/>
                  </a:moveTo>
                  <a:lnTo>
                    <a:pt x="36826" y="0"/>
                  </a:lnTo>
                  <a:lnTo>
                    <a:pt x="45003" y="152909"/>
                  </a:lnTo>
                  <a:cubicBezTo>
                    <a:pt x="50351" y="205154"/>
                    <a:pt x="58290" y="257123"/>
                    <a:pt x="68956" y="308600"/>
                  </a:cubicBezTo>
                  <a:cubicBezTo>
                    <a:pt x="91393" y="411324"/>
                    <a:pt x="123882" y="511847"/>
                    <a:pt x="167774" y="607968"/>
                  </a:cubicBezTo>
                  <a:cubicBezTo>
                    <a:pt x="178195" y="632173"/>
                    <a:pt x="190333" y="655798"/>
                    <a:pt x="201857" y="679539"/>
                  </a:cubicBezTo>
                  <a:cubicBezTo>
                    <a:pt x="214363" y="702933"/>
                    <a:pt x="226255" y="726557"/>
                    <a:pt x="239741" y="749488"/>
                  </a:cubicBezTo>
                  <a:cubicBezTo>
                    <a:pt x="265488" y="795812"/>
                    <a:pt x="294176" y="840746"/>
                    <a:pt x="323724" y="885101"/>
                  </a:cubicBezTo>
                  <a:cubicBezTo>
                    <a:pt x="353149" y="929572"/>
                    <a:pt x="384657" y="972885"/>
                    <a:pt x="416412" y="1016081"/>
                  </a:cubicBezTo>
                  <a:cubicBezTo>
                    <a:pt x="448655" y="1058931"/>
                    <a:pt x="482127" y="1101202"/>
                    <a:pt x="515719" y="1143356"/>
                  </a:cubicBezTo>
                  <a:cubicBezTo>
                    <a:pt x="583027" y="1227782"/>
                    <a:pt x="653402" y="1310470"/>
                    <a:pt x="722427" y="1395127"/>
                  </a:cubicBezTo>
                  <a:cubicBezTo>
                    <a:pt x="757123" y="1437282"/>
                    <a:pt x="791697" y="1479783"/>
                    <a:pt x="825780" y="1522749"/>
                  </a:cubicBezTo>
                  <a:cubicBezTo>
                    <a:pt x="859742" y="1565367"/>
                    <a:pt x="893457" y="1610649"/>
                    <a:pt x="926314" y="1651992"/>
                  </a:cubicBezTo>
                  <a:cubicBezTo>
                    <a:pt x="958927" y="1694379"/>
                    <a:pt x="993132" y="1735492"/>
                    <a:pt x="1026848" y="1776836"/>
                  </a:cubicBezTo>
                  <a:cubicBezTo>
                    <a:pt x="1061545" y="1817485"/>
                    <a:pt x="1095996" y="1858133"/>
                    <a:pt x="1131918" y="1897393"/>
                  </a:cubicBezTo>
                  <a:cubicBezTo>
                    <a:pt x="1203273" y="1976376"/>
                    <a:pt x="1277447" y="2052463"/>
                    <a:pt x="1354688" y="2124728"/>
                  </a:cubicBezTo>
                  <a:cubicBezTo>
                    <a:pt x="1509411" y="2268911"/>
                    <a:pt x="1676396" y="2397575"/>
                    <a:pt x="1855027" y="2504236"/>
                  </a:cubicBezTo>
                  <a:cubicBezTo>
                    <a:pt x="1944528" y="2557277"/>
                    <a:pt x="2036357" y="2605917"/>
                    <a:pt x="2131618" y="2646913"/>
                  </a:cubicBezTo>
                  <a:cubicBezTo>
                    <a:pt x="2226267" y="2689068"/>
                    <a:pt x="2323981" y="2724622"/>
                    <a:pt x="2423534" y="2754732"/>
                  </a:cubicBezTo>
                  <a:cubicBezTo>
                    <a:pt x="2523087" y="2784958"/>
                    <a:pt x="2624602" y="2809394"/>
                    <a:pt x="2727588" y="2829197"/>
                  </a:cubicBezTo>
                  <a:cubicBezTo>
                    <a:pt x="2830698" y="2848653"/>
                    <a:pt x="2935522" y="2861971"/>
                    <a:pt x="3041083" y="2870890"/>
                  </a:cubicBezTo>
                  <a:cubicBezTo>
                    <a:pt x="3146644" y="2879922"/>
                    <a:pt x="3253307" y="2883860"/>
                    <a:pt x="3360340" y="2883976"/>
                  </a:cubicBezTo>
                  <a:cubicBezTo>
                    <a:pt x="3387067" y="2883976"/>
                    <a:pt x="3414162" y="2884439"/>
                    <a:pt x="3439663" y="2883396"/>
                  </a:cubicBezTo>
                  <a:lnTo>
                    <a:pt x="3478529" y="2882471"/>
                  </a:lnTo>
                  <a:lnTo>
                    <a:pt x="3517271" y="2880616"/>
                  </a:lnTo>
                  <a:cubicBezTo>
                    <a:pt x="3568887" y="2878417"/>
                    <a:pt x="3620257" y="2873552"/>
                    <a:pt x="3671260" y="2867878"/>
                  </a:cubicBezTo>
                  <a:cubicBezTo>
                    <a:pt x="3875515" y="2844253"/>
                    <a:pt x="4074253" y="2792486"/>
                    <a:pt x="4265268" y="2716283"/>
                  </a:cubicBezTo>
                  <a:cubicBezTo>
                    <a:pt x="4361020" y="2678529"/>
                    <a:pt x="4454444" y="2633710"/>
                    <a:pt x="4546395" y="2584724"/>
                  </a:cubicBezTo>
                  <a:cubicBezTo>
                    <a:pt x="4638470" y="2535967"/>
                    <a:pt x="4728827" y="2481885"/>
                    <a:pt x="4817837" y="2424674"/>
                  </a:cubicBezTo>
                  <a:cubicBezTo>
                    <a:pt x="4906846" y="2367348"/>
                    <a:pt x="4994385" y="2306317"/>
                    <a:pt x="5081677" y="2243548"/>
                  </a:cubicBezTo>
                  <a:cubicBezTo>
                    <a:pt x="5125201" y="2212164"/>
                    <a:pt x="5168603" y="2179969"/>
                    <a:pt x="5211881" y="2147658"/>
                  </a:cubicBezTo>
                  <a:lnTo>
                    <a:pt x="5324985" y="2062128"/>
                  </a:lnTo>
                  <a:lnTo>
                    <a:pt x="5324985" y="2514993"/>
                  </a:lnTo>
                  <a:lnTo>
                    <a:pt x="5314867" y="2522881"/>
                  </a:lnTo>
                  <a:cubicBezTo>
                    <a:pt x="5225490" y="2591325"/>
                    <a:pt x="5133783" y="2658379"/>
                    <a:pt x="5038276" y="2722421"/>
                  </a:cubicBezTo>
                  <a:cubicBezTo>
                    <a:pt x="4942892" y="2786348"/>
                    <a:pt x="4844810" y="2848422"/>
                    <a:pt x="4741701" y="2904937"/>
                  </a:cubicBezTo>
                  <a:cubicBezTo>
                    <a:pt x="4638592" y="2961337"/>
                    <a:pt x="4531929" y="3013683"/>
                    <a:pt x="4420728" y="3058848"/>
                  </a:cubicBezTo>
                  <a:cubicBezTo>
                    <a:pt x="4199063" y="3150338"/>
                    <a:pt x="3959621" y="3211485"/>
                    <a:pt x="3717481" y="3237079"/>
                  </a:cubicBezTo>
                  <a:cubicBezTo>
                    <a:pt x="3656914" y="3243101"/>
                    <a:pt x="3596227" y="3247966"/>
                    <a:pt x="3535661" y="3249934"/>
                  </a:cubicBezTo>
                  <a:lnTo>
                    <a:pt x="3490175" y="3251555"/>
                  </a:lnTo>
                  <a:lnTo>
                    <a:pt x="3444813" y="3251787"/>
                  </a:lnTo>
                  <a:cubicBezTo>
                    <a:pt x="3414162" y="3252250"/>
                    <a:pt x="3385105" y="3251324"/>
                    <a:pt x="3355681" y="3250745"/>
                  </a:cubicBezTo>
                  <a:cubicBezTo>
                    <a:pt x="3296954" y="3250050"/>
                    <a:pt x="3237860" y="3246692"/>
                    <a:pt x="3179011" y="3243795"/>
                  </a:cubicBezTo>
                  <a:cubicBezTo>
                    <a:pt x="3120039" y="3239164"/>
                    <a:pt x="3061067" y="3234878"/>
                    <a:pt x="3002217" y="3227814"/>
                  </a:cubicBezTo>
                  <a:cubicBezTo>
                    <a:pt x="2884397" y="3214496"/>
                    <a:pt x="2766699" y="3196314"/>
                    <a:pt x="2650103" y="3170836"/>
                  </a:cubicBezTo>
                  <a:cubicBezTo>
                    <a:pt x="2533510" y="3145358"/>
                    <a:pt x="2418263" y="3112583"/>
                    <a:pt x="2305836" y="3072514"/>
                  </a:cubicBezTo>
                  <a:cubicBezTo>
                    <a:pt x="2193410" y="3032328"/>
                    <a:pt x="2083926" y="2984383"/>
                    <a:pt x="1978611" y="2929952"/>
                  </a:cubicBezTo>
                  <a:cubicBezTo>
                    <a:pt x="1873663" y="2874711"/>
                    <a:pt x="1772884" y="2812985"/>
                    <a:pt x="1678235" y="2744424"/>
                  </a:cubicBezTo>
                  <a:cubicBezTo>
                    <a:pt x="1488201" y="2608001"/>
                    <a:pt x="1321708" y="2448068"/>
                    <a:pt x="1175688" y="2277018"/>
                  </a:cubicBezTo>
                  <a:cubicBezTo>
                    <a:pt x="1102985" y="2191086"/>
                    <a:pt x="1035309" y="2102377"/>
                    <a:pt x="971310" y="2012044"/>
                  </a:cubicBezTo>
                  <a:cubicBezTo>
                    <a:pt x="907188" y="1921714"/>
                    <a:pt x="847358" y="1829413"/>
                    <a:pt x="790717" y="1735723"/>
                  </a:cubicBezTo>
                  <a:cubicBezTo>
                    <a:pt x="761782" y="1688357"/>
                    <a:pt x="735300" y="1644002"/>
                    <a:pt x="706488" y="1598604"/>
                  </a:cubicBezTo>
                  <a:cubicBezTo>
                    <a:pt x="677922" y="1553555"/>
                    <a:pt x="648866" y="1508505"/>
                    <a:pt x="618951" y="1463802"/>
                  </a:cubicBezTo>
                  <a:lnTo>
                    <a:pt x="436273" y="1195355"/>
                  </a:lnTo>
                  <a:cubicBezTo>
                    <a:pt x="405990" y="1150189"/>
                    <a:pt x="376075" y="1104792"/>
                    <a:pt x="346896" y="1058816"/>
                  </a:cubicBezTo>
                  <a:cubicBezTo>
                    <a:pt x="317716" y="1012838"/>
                    <a:pt x="288782" y="966747"/>
                    <a:pt x="261809" y="919264"/>
                  </a:cubicBezTo>
                  <a:cubicBezTo>
                    <a:pt x="207742" y="824764"/>
                    <a:pt x="158088" y="727485"/>
                    <a:pt x="118487" y="626498"/>
                  </a:cubicBezTo>
                  <a:cubicBezTo>
                    <a:pt x="78151" y="525859"/>
                    <a:pt x="48237" y="421515"/>
                    <a:pt x="28130" y="315781"/>
                  </a:cubicBezTo>
                  <a:cubicBezTo>
                    <a:pt x="18506" y="262914"/>
                    <a:pt x="11425" y="209642"/>
                    <a:pt x="6751" y="15619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F7875715-EC2E-457F-851D-F6C817685FE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16467" y="-1"/>
              <a:ext cx="5275533" cy="2980757"/>
            </a:xfrm>
            <a:custGeom>
              <a:avLst/>
              <a:gdLst>
                <a:gd name="connsiteX0" fmla="*/ 0 w 5275533"/>
                <a:gd name="connsiteY0" fmla="*/ 0 h 2980757"/>
                <a:gd name="connsiteX1" fmla="*/ 201166 w 5275533"/>
                <a:gd name="connsiteY1" fmla="*/ 0 h 2980757"/>
                <a:gd name="connsiteX2" fmla="*/ 206734 w 5275533"/>
                <a:gd name="connsiteY2" fmla="*/ 89286 h 2980757"/>
                <a:gd name="connsiteX3" fmla="*/ 232051 w 5275533"/>
                <a:gd name="connsiteY3" fmla="*/ 226897 h 2980757"/>
                <a:gd name="connsiteX4" fmla="*/ 332707 w 5275533"/>
                <a:gd name="connsiteY4" fmla="*/ 487120 h 2980757"/>
                <a:gd name="connsiteX5" fmla="*/ 402959 w 5275533"/>
                <a:gd name="connsiteY5" fmla="*/ 609647 h 2980757"/>
                <a:gd name="connsiteX6" fmla="*/ 483631 w 5275533"/>
                <a:gd name="connsiteY6" fmla="*/ 728236 h 2980757"/>
                <a:gd name="connsiteX7" fmla="*/ 669986 w 5275533"/>
                <a:gd name="connsiteY7" fmla="*/ 957424 h 2980757"/>
                <a:gd name="connsiteX8" fmla="*/ 871667 w 5275533"/>
                <a:gd name="connsiteY8" fmla="*/ 1188348 h 2980757"/>
                <a:gd name="connsiteX9" fmla="*/ 971956 w 5275533"/>
                <a:gd name="connsiteY9" fmla="*/ 1308905 h 2980757"/>
                <a:gd name="connsiteX10" fmla="*/ 1020139 w 5275533"/>
                <a:gd name="connsiteY10" fmla="*/ 1368084 h 2980757"/>
                <a:gd name="connsiteX11" fmla="*/ 1067340 w 5275533"/>
                <a:gd name="connsiteY11" fmla="*/ 1424715 h 2980757"/>
                <a:gd name="connsiteX12" fmla="*/ 1472909 w 5275533"/>
                <a:gd name="connsiteY12" fmla="*/ 1843252 h 2980757"/>
                <a:gd name="connsiteX13" fmla="*/ 1688567 w 5275533"/>
                <a:gd name="connsiteY13" fmla="*/ 2031559 h 2980757"/>
                <a:gd name="connsiteX14" fmla="*/ 1914401 w 5275533"/>
                <a:gd name="connsiteY14" fmla="*/ 2205156 h 2980757"/>
                <a:gd name="connsiteX15" fmla="*/ 2418909 w 5275533"/>
                <a:gd name="connsiteY15" fmla="*/ 2479741 h 2980757"/>
                <a:gd name="connsiteX16" fmla="*/ 2701141 w 5275533"/>
                <a:gd name="connsiteY16" fmla="*/ 2557333 h 2980757"/>
                <a:gd name="connsiteX17" fmla="*/ 2773475 w 5275533"/>
                <a:gd name="connsiteY17" fmla="*/ 2570999 h 2980757"/>
                <a:gd name="connsiteX18" fmla="*/ 2846424 w 5275533"/>
                <a:gd name="connsiteY18" fmla="*/ 2582465 h 2980757"/>
                <a:gd name="connsiteX19" fmla="*/ 2993669 w 5275533"/>
                <a:gd name="connsiteY19" fmla="*/ 2598909 h 2980757"/>
                <a:gd name="connsiteX20" fmla="*/ 3067721 w 5275533"/>
                <a:gd name="connsiteY20" fmla="*/ 2604237 h 2980757"/>
                <a:gd name="connsiteX21" fmla="*/ 3142019 w 5275533"/>
                <a:gd name="connsiteY21" fmla="*/ 2607943 h 2980757"/>
                <a:gd name="connsiteX22" fmla="*/ 3216561 w 5275533"/>
                <a:gd name="connsiteY22" fmla="*/ 2609564 h 2980757"/>
                <a:gd name="connsiteX23" fmla="*/ 3291225 w 5275533"/>
                <a:gd name="connsiteY23" fmla="*/ 2609217 h 2980757"/>
                <a:gd name="connsiteX24" fmla="*/ 3328619 w 5275533"/>
                <a:gd name="connsiteY24" fmla="*/ 2608869 h 2980757"/>
                <a:gd name="connsiteX25" fmla="*/ 3364665 w 5275533"/>
                <a:gd name="connsiteY25" fmla="*/ 2607363 h 2980757"/>
                <a:gd name="connsiteX26" fmla="*/ 3400587 w 5275533"/>
                <a:gd name="connsiteY26" fmla="*/ 2605627 h 2980757"/>
                <a:gd name="connsiteX27" fmla="*/ 3436387 w 5275533"/>
                <a:gd name="connsiteY27" fmla="*/ 2602847 h 2980757"/>
                <a:gd name="connsiteX28" fmla="*/ 3578361 w 5275533"/>
                <a:gd name="connsiteY28" fmla="*/ 2586286 h 2980757"/>
                <a:gd name="connsiteX29" fmla="*/ 4119159 w 5275533"/>
                <a:gd name="connsiteY29" fmla="*/ 2418594 h 2980757"/>
                <a:gd name="connsiteX30" fmla="*/ 4618765 w 5275533"/>
                <a:gd name="connsiteY30" fmla="*/ 2124668 h 2980757"/>
                <a:gd name="connsiteX31" fmla="*/ 4739895 w 5275533"/>
                <a:gd name="connsiteY31" fmla="*/ 2038275 h 2980757"/>
                <a:gd name="connsiteX32" fmla="*/ 4861027 w 5275533"/>
                <a:gd name="connsiteY32" fmla="*/ 1948986 h 2980757"/>
                <a:gd name="connsiteX33" fmla="*/ 5106354 w 5275533"/>
                <a:gd name="connsiteY33" fmla="*/ 1763690 h 2980757"/>
                <a:gd name="connsiteX34" fmla="*/ 5275533 w 5275533"/>
                <a:gd name="connsiteY34" fmla="*/ 1641017 h 2980757"/>
                <a:gd name="connsiteX35" fmla="*/ 5275533 w 5275533"/>
                <a:gd name="connsiteY35" fmla="*/ 2257481 h 2980757"/>
                <a:gd name="connsiteX36" fmla="*/ 5168881 w 5275533"/>
                <a:gd name="connsiteY36" fmla="*/ 2332084 h 2980757"/>
                <a:gd name="connsiteX37" fmla="*/ 5036225 w 5275533"/>
                <a:gd name="connsiteY37" fmla="*/ 2421489 h 2980757"/>
                <a:gd name="connsiteX38" fmla="*/ 4899401 w 5275533"/>
                <a:gd name="connsiteY38" fmla="*/ 2508347 h 2980757"/>
                <a:gd name="connsiteX39" fmla="*/ 4612145 w 5275533"/>
                <a:gd name="connsiteY39" fmla="*/ 2671407 h 2980757"/>
                <a:gd name="connsiteX40" fmla="*/ 4303187 w 5275533"/>
                <a:gd name="connsiteY40" fmla="*/ 2810030 h 2980757"/>
                <a:gd name="connsiteX41" fmla="*/ 3630835 w 5275533"/>
                <a:gd name="connsiteY41" fmla="*/ 2969500 h 2980757"/>
                <a:gd name="connsiteX42" fmla="*/ 3457719 w 5275533"/>
                <a:gd name="connsiteY42" fmla="*/ 2979808 h 2980757"/>
                <a:gd name="connsiteX43" fmla="*/ 3414441 w 5275533"/>
                <a:gd name="connsiteY43" fmla="*/ 2980733 h 2980757"/>
                <a:gd name="connsiteX44" fmla="*/ 3371285 w 5275533"/>
                <a:gd name="connsiteY44" fmla="*/ 2980502 h 2980757"/>
                <a:gd name="connsiteX45" fmla="*/ 3328252 w 5275533"/>
                <a:gd name="connsiteY45" fmla="*/ 2980039 h 2980757"/>
                <a:gd name="connsiteX46" fmla="*/ 3286445 w 5275533"/>
                <a:gd name="connsiteY46" fmla="*/ 2978534 h 2980757"/>
                <a:gd name="connsiteX47" fmla="*/ 2952475 w 5275533"/>
                <a:gd name="connsiteY47" fmla="*/ 2953402 h 2980757"/>
                <a:gd name="connsiteX48" fmla="*/ 2620591 w 5275533"/>
                <a:gd name="connsiteY48" fmla="*/ 2898046 h 2980757"/>
                <a:gd name="connsiteX49" fmla="*/ 2294591 w 5275533"/>
                <a:gd name="connsiteY49" fmla="*/ 2811305 h 2980757"/>
                <a:gd name="connsiteX50" fmla="*/ 1670544 w 5275533"/>
                <a:gd name="connsiteY50" fmla="*/ 2550501 h 2980757"/>
                <a:gd name="connsiteX51" fmla="*/ 1144703 w 5275533"/>
                <a:gd name="connsiteY51" fmla="*/ 2144472 h 2980757"/>
                <a:gd name="connsiteX52" fmla="*/ 931497 w 5275533"/>
                <a:gd name="connsiteY52" fmla="*/ 1900114 h 2980757"/>
                <a:gd name="connsiteX53" fmla="*/ 745265 w 5275533"/>
                <a:gd name="connsiteY53" fmla="*/ 1641395 h 2980757"/>
                <a:gd name="connsiteX54" fmla="*/ 701741 w 5275533"/>
                <a:gd name="connsiteY54" fmla="*/ 1575500 h 2980757"/>
                <a:gd name="connsiteX55" fmla="*/ 660178 w 5275533"/>
                <a:gd name="connsiteY55" fmla="*/ 1511573 h 2980757"/>
                <a:gd name="connsiteX56" fmla="*/ 578158 w 5275533"/>
                <a:gd name="connsiteY56" fmla="*/ 1387656 h 2980757"/>
                <a:gd name="connsiteX57" fmla="*/ 408230 w 5275533"/>
                <a:gd name="connsiteY57" fmla="*/ 1134497 h 2980757"/>
                <a:gd name="connsiteX58" fmla="*/ 242349 w 5275533"/>
                <a:gd name="connsiteY58" fmla="*/ 866860 h 2980757"/>
                <a:gd name="connsiteX59" fmla="*/ 167562 w 5275533"/>
                <a:gd name="connsiteY59" fmla="*/ 724994 h 2980757"/>
                <a:gd name="connsiteX60" fmla="*/ 104054 w 5275533"/>
                <a:gd name="connsiteY60" fmla="*/ 576525 h 2980757"/>
                <a:gd name="connsiteX61" fmla="*/ 55381 w 5275533"/>
                <a:gd name="connsiteY61" fmla="*/ 422499 h 2980757"/>
                <a:gd name="connsiteX62" fmla="*/ 37236 w 5275533"/>
                <a:gd name="connsiteY62" fmla="*/ 343980 h 2980757"/>
                <a:gd name="connsiteX63" fmla="*/ 29267 w 5275533"/>
                <a:gd name="connsiteY63" fmla="*/ 304604 h 2980757"/>
                <a:gd name="connsiteX64" fmla="*/ 22646 w 5275533"/>
                <a:gd name="connsiteY64" fmla="*/ 265113 h 2980757"/>
                <a:gd name="connsiteX65" fmla="*/ 3903 w 5275533"/>
                <a:gd name="connsiteY65" fmla="*/ 106787 h 298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75533" h="2980757">
                  <a:moveTo>
                    <a:pt x="0" y="0"/>
                  </a:moveTo>
                  <a:lnTo>
                    <a:pt x="201166" y="0"/>
                  </a:lnTo>
                  <a:lnTo>
                    <a:pt x="206734" y="89286"/>
                  </a:lnTo>
                  <a:cubicBezTo>
                    <a:pt x="212220" y="135755"/>
                    <a:pt x="220465" y="181731"/>
                    <a:pt x="232051" y="226897"/>
                  </a:cubicBezTo>
                  <a:cubicBezTo>
                    <a:pt x="254855" y="317344"/>
                    <a:pt x="290287" y="403854"/>
                    <a:pt x="332707" y="487120"/>
                  </a:cubicBezTo>
                  <a:cubicBezTo>
                    <a:pt x="354163" y="528696"/>
                    <a:pt x="377948" y="569461"/>
                    <a:pt x="402959" y="609647"/>
                  </a:cubicBezTo>
                  <a:cubicBezTo>
                    <a:pt x="428337" y="649717"/>
                    <a:pt x="455433" y="689209"/>
                    <a:pt x="483631" y="728236"/>
                  </a:cubicBezTo>
                  <a:cubicBezTo>
                    <a:pt x="540764" y="806061"/>
                    <a:pt x="604271" y="881569"/>
                    <a:pt x="669986" y="957424"/>
                  </a:cubicBezTo>
                  <a:cubicBezTo>
                    <a:pt x="735701" y="1033395"/>
                    <a:pt x="804359" y="1109366"/>
                    <a:pt x="871667" y="1188348"/>
                  </a:cubicBezTo>
                  <a:cubicBezTo>
                    <a:pt x="905383" y="1227723"/>
                    <a:pt x="938731" y="1268025"/>
                    <a:pt x="971956" y="1308905"/>
                  </a:cubicBezTo>
                  <a:lnTo>
                    <a:pt x="1020139" y="1368084"/>
                  </a:lnTo>
                  <a:cubicBezTo>
                    <a:pt x="1035954" y="1386962"/>
                    <a:pt x="1051035" y="1406302"/>
                    <a:pt x="1067340" y="1424715"/>
                  </a:cubicBezTo>
                  <a:cubicBezTo>
                    <a:pt x="1194602" y="1574573"/>
                    <a:pt x="1332652" y="1712503"/>
                    <a:pt x="1472909" y="1843252"/>
                  </a:cubicBezTo>
                  <a:cubicBezTo>
                    <a:pt x="1543406" y="1908337"/>
                    <a:pt x="1615128" y="1971221"/>
                    <a:pt x="1688567" y="2031559"/>
                  </a:cubicBezTo>
                  <a:cubicBezTo>
                    <a:pt x="1762006" y="2091895"/>
                    <a:pt x="1836793" y="2150263"/>
                    <a:pt x="1914401" y="2205156"/>
                  </a:cubicBezTo>
                  <a:cubicBezTo>
                    <a:pt x="2069003" y="2315176"/>
                    <a:pt x="2235742" y="2413498"/>
                    <a:pt x="2418909" y="2479741"/>
                  </a:cubicBezTo>
                  <a:cubicBezTo>
                    <a:pt x="2510249" y="2512863"/>
                    <a:pt x="2604898" y="2538225"/>
                    <a:pt x="2701141" y="2557333"/>
                  </a:cubicBezTo>
                  <a:cubicBezTo>
                    <a:pt x="2725293" y="2561850"/>
                    <a:pt x="2749201" y="2567062"/>
                    <a:pt x="2773475" y="2570999"/>
                  </a:cubicBezTo>
                  <a:lnTo>
                    <a:pt x="2846424" y="2582465"/>
                  </a:lnTo>
                  <a:cubicBezTo>
                    <a:pt x="2895343" y="2588602"/>
                    <a:pt x="2944261" y="2595088"/>
                    <a:pt x="2993669" y="2598909"/>
                  </a:cubicBezTo>
                  <a:cubicBezTo>
                    <a:pt x="3018313" y="2601110"/>
                    <a:pt x="3042956" y="2603195"/>
                    <a:pt x="3067721" y="2604237"/>
                  </a:cubicBezTo>
                  <a:cubicBezTo>
                    <a:pt x="3092487" y="2605394"/>
                    <a:pt x="3117130" y="2607247"/>
                    <a:pt x="3142019" y="2607943"/>
                  </a:cubicBezTo>
                  <a:lnTo>
                    <a:pt x="3216561" y="2609564"/>
                  </a:lnTo>
                  <a:cubicBezTo>
                    <a:pt x="3241326" y="2610142"/>
                    <a:pt x="3266337" y="2609333"/>
                    <a:pt x="3291225" y="2609217"/>
                  </a:cubicBezTo>
                  <a:lnTo>
                    <a:pt x="3328619" y="2608869"/>
                  </a:lnTo>
                  <a:cubicBezTo>
                    <a:pt x="3340757" y="2608522"/>
                    <a:pt x="3352649" y="2607827"/>
                    <a:pt x="3364665" y="2607363"/>
                  </a:cubicBezTo>
                  <a:cubicBezTo>
                    <a:pt x="3376679" y="2606784"/>
                    <a:pt x="3388695" y="2606438"/>
                    <a:pt x="3400587" y="2605627"/>
                  </a:cubicBezTo>
                  <a:lnTo>
                    <a:pt x="3436387" y="2602847"/>
                  </a:lnTo>
                  <a:cubicBezTo>
                    <a:pt x="3484079" y="2599257"/>
                    <a:pt x="3531404" y="2593235"/>
                    <a:pt x="3578361" y="2586286"/>
                  </a:cubicBezTo>
                  <a:cubicBezTo>
                    <a:pt x="3766310" y="2556871"/>
                    <a:pt x="3947025" y="2499314"/>
                    <a:pt x="4119159" y="2418594"/>
                  </a:cubicBezTo>
                  <a:cubicBezTo>
                    <a:pt x="4291907" y="2338801"/>
                    <a:pt x="4456317" y="2236657"/>
                    <a:pt x="4618765" y="2124668"/>
                  </a:cubicBezTo>
                  <a:cubicBezTo>
                    <a:pt x="4659346" y="2096759"/>
                    <a:pt x="4699682" y="2067575"/>
                    <a:pt x="4739895" y="2038275"/>
                  </a:cubicBezTo>
                  <a:cubicBezTo>
                    <a:pt x="4780355" y="2008976"/>
                    <a:pt x="4820691" y="1979212"/>
                    <a:pt x="4861027" y="1948986"/>
                  </a:cubicBezTo>
                  <a:lnTo>
                    <a:pt x="5106354" y="1763690"/>
                  </a:lnTo>
                  <a:lnTo>
                    <a:pt x="5275533" y="1641017"/>
                  </a:lnTo>
                  <a:lnTo>
                    <a:pt x="5275533" y="2257481"/>
                  </a:lnTo>
                  <a:lnTo>
                    <a:pt x="5168881" y="2332084"/>
                  </a:lnTo>
                  <a:cubicBezTo>
                    <a:pt x="5125235" y="2362079"/>
                    <a:pt x="5081099" y="2391958"/>
                    <a:pt x="5036225" y="2421489"/>
                  </a:cubicBezTo>
                  <a:cubicBezTo>
                    <a:pt x="4991231" y="2450790"/>
                    <a:pt x="4945867" y="2479857"/>
                    <a:pt x="4899401" y="2508347"/>
                  </a:cubicBezTo>
                  <a:cubicBezTo>
                    <a:pt x="4806959" y="2565440"/>
                    <a:pt x="4711574" y="2620798"/>
                    <a:pt x="4612145" y="2671407"/>
                  </a:cubicBezTo>
                  <a:cubicBezTo>
                    <a:pt x="4512836" y="2722247"/>
                    <a:pt x="4410095" y="2769496"/>
                    <a:pt x="4303187" y="2810030"/>
                  </a:cubicBezTo>
                  <a:cubicBezTo>
                    <a:pt x="4090349" y="2892256"/>
                    <a:pt x="3861694" y="2947728"/>
                    <a:pt x="3630835" y="2969500"/>
                  </a:cubicBezTo>
                  <a:cubicBezTo>
                    <a:pt x="3573089" y="2974712"/>
                    <a:pt x="3515343" y="2978649"/>
                    <a:pt x="3457719" y="2979808"/>
                  </a:cubicBezTo>
                  <a:lnTo>
                    <a:pt x="3414441" y="2980733"/>
                  </a:lnTo>
                  <a:cubicBezTo>
                    <a:pt x="3400097" y="2980850"/>
                    <a:pt x="3385630" y="2980502"/>
                    <a:pt x="3371285" y="2980502"/>
                  </a:cubicBezTo>
                  <a:lnTo>
                    <a:pt x="3328252" y="2980039"/>
                  </a:lnTo>
                  <a:lnTo>
                    <a:pt x="3286445" y="2978534"/>
                  </a:lnTo>
                  <a:cubicBezTo>
                    <a:pt x="3175121" y="2975174"/>
                    <a:pt x="3063553" y="2966837"/>
                    <a:pt x="2952475" y="2953402"/>
                  </a:cubicBezTo>
                  <a:cubicBezTo>
                    <a:pt x="2841275" y="2940664"/>
                    <a:pt x="2730319" y="2922365"/>
                    <a:pt x="2620591" y="2898046"/>
                  </a:cubicBezTo>
                  <a:cubicBezTo>
                    <a:pt x="2510984" y="2873494"/>
                    <a:pt x="2402235" y="2844426"/>
                    <a:pt x="2294591" y="2811305"/>
                  </a:cubicBezTo>
                  <a:cubicBezTo>
                    <a:pt x="2079669" y="2744483"/>
                    <a:pt x="1867198" y="2661331"/>
                    <a:pt x="1670544" y="2550501"/>
                  </a:cubicBezTo>
                  <a:cubicBezTo>
                    <a:pt x="1473767" y="2439903"/>
                    <a:pt x="1298079" y="2299657"/>
                    <a:pt x="1144703" y="2144472"/>
                  </a:cubicBezTo>
                  <a:cubicBezTo>
                    <a:pt x="1067586" y="2066996"/>
                    <a:pt x="997458" y="1984539"/>
                    <a:pt x="931497" y="1900114"/>
                  </a:cubicBezTo>
                  <a:cubicBezTo>
                    <a:pt x="865906" y="1815342"/>
                    <a:pt x="803500" y="1729295"/>
                    <a:pt x="745265" y="1641395"/>
                  </a:cubicBezTo>
                  <a:cubicBezTo>
                    <a:pt x="730307" y="1619623"/>
                    <a:pt x="716207" y="1597503"/>
                    <a:pt x="701741" y="1575500"/>
                  </a:cubicBezTo>
                  <a:lnTo>
                    <a:pt x="660178" y="1511573"/>
                  </a:lnTo>
                  <a:cubicBezTo>
                    <a:pt x="633574" y="1470229"/>
                    <a:pt x="605989" y="1429232"/>
                    <a:pt x="578158" y="1387656"/>
                  </a:cubicBezTo>
                  <a:lnTo>
                    <a:pt x="408230" y="1134497"/>
                  </a:lnTo>
                  <a:cubicBezTo>
                    <a:pt x="351220" y="1048219"/>
                    <a:pt x="294945" y="959392"/>
                    <a:pt x="242349" y="866860"/>
                  </a:cubicBezTo>
                  <a:cubicBezTo>
                    <a:pt x="216112" y="820536"/>
                    <a:pt x="190734" y="773402"/>
                    <a:pt x="167562" y="724994"/>
                  </a:cubicBezTo>
                  <a:cubicBezTo>
                    <a:pt x="144513" y="676469"/>
                    <a:pt x="123057" y="627019"/>
                    <a:pt x="104054" y="576525"/>
                  </a:cubicBezTo>
                  <a:cubicBezTo>
                    <a:pt x="85418" y="525917"/>
                    <a:pt x="68867" y="474613"/>
                    <a:pt x="55381" y="422499"/>
                  </a:cubicBezTo>
                  <a:cubicBezTo>
                    <a:pt x="49006" y="396442"/>
                    <a:pt x="42508" y="370269"/>
                    <a:pt x="37236" y="343980"/>
                  </a:cubicBezTo>
                  <a:lnTo>
                    <a:pt x="29267" y="304604"/>
                  </a:lnTo>
                  <a:lnTo>
                    <a:pt x="22646" y="265113"/>
                  </a:lnTo>
                  <a:cubicBezTo>
                    <a:pt x="14003" y="212420"/>
                    <a:pt x="7872" y="159582"/>
                    <a:pt x="3903" y="106787"/>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F7E41CC6-0C83-40EE-80BB-79394D9E9B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613805 w 5270786"/>
                <a:gd name="connsiteY1" fmla="*/ 0 h 2927775"/>
                <a:gd name="connsiteX2" fmla="*/ 618487 w 5270786"/>
                <a:gd name="connsiteY2" fmla="*/ 85404 h 2927775"/>
                <a:gd name="connsiteX3" fmla="*/ 1054084 w 5270786"/>
                <a:gd name="connsiteY3" fmla="*/ 895200 h 2927775"/>
                <a:gd name="connsiteX4" fmla="*/ 1276976 w 5270786"/>
                <a:gd name="connsiteY4" fmla="*/ 1191325 h 2927775"/>
                <a:gd name="connsiteX5" fmla="*/ 3368450 w 5270786"/>
                <a:gd name="connsiteY5" fmla="*/ 2348843 h 2927775"/>
                <a:gd name="connsiteX6" fmla="*/ 4956151 w 5270786"/>
                <a:gd name="connsiteY6" fmla="*/ 1636730 h 2927775"/>
                <a:gd name="connsiteX7" fmla="*/ 5149372 w 5270786"/>
                <a:gd name="connsiteY7" fmla="*/ 1495325 h 2927775"/>
                <a:gd name="connsiteX8" fmla="*/ 5270786 w 5270786"/>
                <a:gd name="connsiteY8" fmla="*/ 1406110 h 2927775"/>
                <a:gd name="connsiteX9" fmla="*/ 5270786 w 5270786"/>
                <a:gd name="connsiteY9" fmla="*/ 2138641 h 2927775"/>
                <a:gd name="connsiteX10" fmla="*/ 5112925 w 5270786"/>
                <a:gd name="connsiteY10" fmla="*/ 2253730 h 2927775"/>
                <a:gd name="connsiteX11" fmla="*/ 3368327 w 5270786"/>
                <a:gd name="connsiteY11" fmla="*/ 2927775 h 2927775"/>
                <a:gd name="connsiteX12" fmla="*/ 769646 w 5270786"/>
                <a:gd name="connsiteY12" fmla="*/ 1516288 h 2927775"/>
                <a:gd name="connsiteX13" fmla="*/ 3149 w 5270786"/>
                <a:gd name="connsiteY13"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0786" h="2927775">
                  <a:moveTo>
                    <a:pt x="0" y="0"/>
                  </a:moveTo>
                  <a:lnTo>
                    <a:pt x="613805" y="0"/>
                  </a:lnTo>
                  <a:lnTo>
                    <a:pt x="618487" y="85404"/>
                  </a:lnTo>
                  <a:cubicBezTo>
                    <a:pt x="650052" y="360109"/>
                    <a:pt x="792650" y="556543"/>
                    <a:pt x="1054084" y="895200"/>
                  </a:cubicBezTo>
                  <a:cubicBezTo>
                    <a:pt x="1126174" y="988542"/>
                    <a:pt x="1200716" y="1085128"/>
                    <a:pt x="1276976" y="1191325"/>
                  </a:cubicBezTo>
                  <a:cubicBezTo>
                    <a:pt x="1859704" y="2002688"/>
                    <a:pt x="2485223" y="2348843"/>
                    <a:pt x="3368450" y="2348843"/>
                  </a:cubicBezTo>
                  <a:cubicBezTo>
                    <a:pt x="3948114" y="2348843"/>
                    <a:pt x="4373422" y="2066846"/>
                    <a:pt x="4956151" y="1636730"/>
                  </a:cubicBezTo>
                  <a:cubicBezTo>
                    <a:pt x="5021253" y="1588668"/>
                    <a:pt x="5086356" y="1541186"/>
                    <a:pt x="5149372" y="1495325"/>
                  </a:cubicBezTo>
                  <a:lnTo>
                    <a:pt x="5270786" y="1406110"/>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00603498-5DFE-4D26-BFB5-C9269C9BDB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921214" y="-1"/>
              <a:ext cx="5270786" cy="2927775"/>
            </a:xfrm>
            <a:custGeom>
              <a:avLst/>
              <a:gdLst>
                <a:gd name="connsiteX0" fmla="*/ 0 w 5270786"/>
                <a:gd name="connsiteY0" fmla="*/ 0 h 2927775"/>
                <a:gd name="connsiteX1" fmla="*/ 736294 w 5270786"/>
                <a:gd name="connsiteY1" fmla="*/ 0 h 2927775"/>
                <a:gd name="connsiteX2" fmla="*/ 740298 w 5270786"/>
                <a:gd name="connsiteY2" fmla="*/ 72745 h 2927775"/>
                <a:gd name="connsiteX3" fmla="*/ 1153024 w 5270786"/>
                <a:gd name="connsiteY3" fmla="*/ 826989 h 2927775"/>
                <a:gd name="connsiteX4" fmla="*/ 1378368 w 5270786"/>
                <a:gd name="connsiteY4" fmla="*/ 1126356 h 2927775"/>
                <a:gd name="connsiteX5" fmla="*/ 2238056 w 5270786"/>
                <a:gd name="connsiteY5" fmla="*/ 1955322 h 2927775"/>
                <a:gd name="connsiteX6" fmla="*/ 3368327 w 5270786"/>
                <a:gd name="connsiteY6" fmla="*/ 2233033 h 2927775"/>
                <a:gd name="connsiteX7" fmla="*/ 4095360 w 5270786"/>
                <a:gd name="connsiteY7" fmla="*/ 2056192 h 2927775"/>
                <a:gd name="connsiteX8" fmla="*/ 4880506 w 5270786"/>
                <a:gd name="connsiteY8" fmla="*/ 1545587 h 2927775"/>
                <a:gd name="connsiteX9" fmla="*/ 5074340 w 5270786"/>
                <a:gd name="connsiteY9" fmla="*/ 1403721 h 2927775"/>
                <a:gd name="connsiteX10" fmla="*/ 5270786 w 5270786"/>
                <a:gd name="connsiteY10" fmla="*/ 1259367 h 2927775"/>
                <a:gd name="connsiteX11" fmla="*/ 5270786 w 5270786"/>
                <a:gd name="connsiteY11" fmla="*/ 2138641 h 2927775"/>
                <a:gd name="connsiteX12" fmla="*/ 5112925 w 5270786"/>
                <a:gd name="connsiteY12" fmla="*/ 2253730 h 2927775"/>
                <a:gd name="connsiteX13" fmla="*/ 3368327 w 5270786"/>
                <a:gd name="connsiteY13" fmla="*/ 2927775 h 2927775"/>
                <a:gd name="connsiteX14" fmla="*/ 769646 w 5270786"/>
                <a:gd name="connsiteY14" fmla="*/ 1516288 h 2927775"/>
                <a:gd name="connsiteX15" fmla="*/ 3149 w 5270786"/>
                <a:gd name="connsiteY15" fmla="*/ 85252 h 292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70786" h="2927775">
                  <a:moveTo>
                    <a:pt x="0" y="0"/>
                  </a:moveTo>
                  <a:lnTo>
                    <a:pt x="736294" y="0"/>
                  </a:lnTo>
                  <a:lnTo>
                    <a:pt x="740298" y="72745"/>
                  </a:lnTo>
                  <a:cubicBezTo>
                    <a:pt x="768839" y="319371"/>
                    <a:pt x="898885" y="497858"/>
                    <a:pt x="1153024" y="826989"/>
                  </a:cubicBezTo>
                  <a:cubicBezTo>
                    <a:pt x="1225727" y="921142"/>
                    <a:pt x="1300882" y="1018537"/>
                    <a:pt x="1378368" y="1126356"/>
                  </a:cubicBezTo>
                  <a:cubicBezTo>
                    <a:pt x="1652384" y="1507833"/>
                    <a:pt x="1933512" y="1779060"/>
                    <a:pt x="2238056" y="1955322"/>
                  </a:cubicBezTo>
                  <a:cubicBezTo>
                    <a:pt x="2560868" y="2142238"/>
                    <a:pt x="2930637" y="2233033"/>
                    <a:pt x="3368327" y="2233033"/>
                  </a:cubicBezTo>
                  <a:cubicBezTo>
                    <a:pt x="3616720" y="2233033"/>
                    <a:pt x="3847703" y="2176866"/>
                    <a:pt x="4095360" y="2056192"/>
                  </a:cubicBezTo>
                  <a:cubicBezTo>
                    <a:pt x="4349636" y="1932276"/>
                    <a:pt x="4601340" y="1751613"/>
                    <a:pt x="4880506" y="1545587"/>
                  </a:cubicBezTo>
                  <a:cubicBezTo>
                    <a:pt x="4945974" y="1497295"/>
                    <a:pt x="5011199" y="1449697"/>
                    <a:pt x="5074340" y="1403721"/>
                  </a:cubicBezTo>
                  <a:lnTo>
                    <a:pt x="5270786" y="1259367"/>
                  </a:lnTo>
                  <a:lnTo>
                    <a:pt x="5270786" y="2138641"/>
                  </a:lnTo>
                  <a:lnTo>
                    <a:pt x="5112925" y="2253730"/>
                  </a:lnTo>
                  <a:cubicBezTo>
                    <a:pt x="4598179" y="2621786"/>
                    <a:pt x="4074961" y="2927775"/>
                    <a:pt x="3368327" y="2927775"/>
                  </a:cubicBezTo>
                  <a:cubicBezTo>
                    <a:pt x="2170746" y="2927775"/>
                    <a:pt x="1393203" y="2384512"/>
                    <a:pt x="769646" y="1516288"/>
                  </a:cubicBezTo>
                  <a:cubicBezTo>
                    <a:pt x="418850" y="1027932"/>
                    <a:pt x="48120" y="683401"/>
                    <a:pt x="3149" y="8525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7EC50F21-2708-D185-6A39-9F1C6A40C27B}"/>
              </a:ext>
            </a:extLst>
          </p:cNvPr>
          <p:cNvSpPr>
            <a:spLocks noGrp="1"/>
          </p:cNvSpPr>
          <p:nvPr>
            <p:ph type="title"/>
          </p:nvPr>
        </p:nvSpPr>
        <p:spPr>
          <a:xfrm>
            <a:off x="3027924" y="991261"/>
            <a:ext cx="5754696" cy="1837349"/>
          </a:xfrm>
        </p:spPr>
        <p:txBody>
          <a:bodyPr>
            <a:normAutofit/>
          </a:bodyPr>
          <a:lstStyle/>
          <a:p>
            <a:pPr algn="ctr"/>
            <a:r>
              <a:rPr lang="en-US" sz="3600">
                <a:solidFill>
                  <a:schemeClr val="tx2"/>
                </a:solidFill>
              </a:rPr>
              <a:t>TOPICS</a:t>
            </a:r>
          </a:p>
        </p:txBody>
      </p:sp>
      <p:sp>
        <p:nvSpPr>
          <p:cNvPr id="3" name="Content Placeholder 2">
            <a:extLst>
              <a:ext uri="{FF2B5EF4-FFF2-40B4-BE49-F238E27FC236}">
                <a16:creationId xmlns:a16="http://schemas.microsoft.com/office/drawing/2014/main" id="{AB06D451-325C-7DC3-2129-1131F01CA654}"/>
              </a:ext>
            </a:extLst>
          </p:cNvPr>
          <p:cNvSpPr>
            <a:spLocks noGrp="1"/>
          </p:cNvSpPr>
          <p:nvPr>
            <p:ph idx="1"/>
          </p:nvPr>
        </p:nvSpPr>
        <p:spPr>
          <a:xfrm>
            <a:off x="3050412" y="2979336"/>
            <a:ext cx="5709721" cy="2430864"/>
          </a:xfrm>
        </p:spPr>
        <p:txBody>
          <a:bodyPr anchor="t">
            <a:normAutofit/>
          </a:bodyPr>
          <a:lstStyle/>
          <a:p>
            <a:r>
              <a:rPr lang="en-US" b="1" dirty="0">
                <a:solidFill>
                  <a:schemeClr val="tx2"/>
                </a:solidFill>
              </a:rPr>
              <a:t>Inflation Reduction Act</a:t>
            </a:r>
          </a:p>
          <a:p>
            <a:r>
              <a:rPr lang="en-US" b="1" dirty="0">
                <a:solidFill>
                  <a:schemeClr val="tx2"/>
                </a:solidFill>
              </a:rPr>
              <a:t>Greenhouse Gas Regulatory Developments</a:t>
            </a:r>
          </a:p>
          <a:p>
            <a:r>
              <a:rPr lang="en-US" b="1" dirty="0">
                <a:solidFill>
                  <a:schemeClr val="tx2"/>
                </a:solidFill>
              </a:rPr>
              <a:t>Adaptation Planning</a:t>
            </a:r>
          </a:p>
        </p:txBody>
      </p:sp>
      <p:grpSp>
        <p:nvGrpSpPr>
          <p:cNvPr id="18" name="Group 17">
            <a:extLst>
              <a:ext uri="{FF2B5EF4-FFF2-40B4-BE49-F238E27FC236}">
                <a16:creationId xmlns:a16="http://schemas.microsoft.com/office/drawing/2014/main" id="{B63ACBA3-DEFD-4C6D-BBA0-64468FA99C2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9058275" y="4146310"/>
            <a:ext cx="3142400" cy="2716805"/>
            <a:chOff x="-305" y="-4155"/>
            <a:chExt cx="2514948" cy="2174333"/>
          </a:xfrm>
          <a:solidFill>
            <a:schemeClr val="bg1">
              <a:alpha val="30000"/>
            </a:schemeClr>
          </a:solidFill>
        </p:grpSpPr>
        <p:sp>
          <p:nvSpPr>
            <p:cNvPr id="19" name="Freeform: Shape 18">
              <a:extLst>
                <a:ext uri="{FF2B5EF4-FFF2-40B4-BE49-F238E27FC236}">
                  <a16:creationId xmlns:a16="http://schemas.microsoft.com/office/drawing/2014/main" id="{62F7819D-2B89-4D80-A1C3-8B318116BA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B7065990-2350-41B3-858B-20EF8744F2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58DA7EC7-CAA0-4665-AA29-BFBA806ECAB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800"/>
            </a:p>
          </p:txBody>
        </p:sp>
        <p:sp>
          <p:nvSpPr>
            <p:cNvPr id="22" name="Freeform: Shape 21">
              <a:extLst>
                <a:ext uri="{FF2B5EF4-FFF2-40B4-BE49-F238E27FC236}">
                  <a16:creationId xmlns:a16="http://schemas.microsoft.com/office/drawing/2014/main" id="{B1132A14-489F-4CED-B626-2A1711C987C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42751654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A2C27-061E-CF10-8DB2-1FA7C3252FA4}"/>
              </a:ext>
            </a:extLst>
          </p:cNvPr>
          <p:cNvSpPr>
            <a:spLocks noGrp="1"/>
          </p:cNvSpPr>
          <p:nvPr>
            <p:ph type="title"/>
          </p:nvPr>
        </p:nvSpPr>
        <p:spPr>
          <a:xfrm>
            <a:off x="1115992" y="0"/>
            <a:ext cx="10515600" cy="1325563"/>
          </a:xfrm>
        </p:spPr>
        <p:txBody>
          <a:bodyPr/>
          <a:lstStyle/>
          <a:p>
            <a:r>
              <a:rPr lang="en-US" b="1" dirty="0">
                <a:solidFill>
                  <a:schemeClr val="accent2"/>
                </a:solidFill>
              </a:rPr>
              <a:t>POWER SECTOR – STANDARDS</a:t>
            </a:r>
            <a:endParaRPr lang="en-US" dirty="0"/>
          </a:p>
        </p:txBody>
      </p:sp>
      <p:pic>
        <p:nvPicPr>
          <p:cNvPr id="5" name="Content Placeholder 4">
            <a:extLst>
              <a:ext uri="{FF2B5EF4-FFF2-40B4-BE49-F238E27FC236}">
                <a16:creationId xmlns:a16="http://schemas.microsoft.com/office/drawing/2014/main" id="{3D1DF28E-DF38-7917-5063-BE6F0348A67D}"/>
              </a:ext>
            </a:extLst>
          </p:cNvPr>
          <p:cNvPicPr>
            <a:picLocks noGrp="1" noChangeAspect="1"/>
          </p:cNvPicPr>
          <p:nvPr>
            <p:ph idx="1"/>
          </p:nvPr>
        </p:nvPicPr>
        <p:blipFill>
          <a:blip r:embed="rId2"/>
          <a:stretch>
            <a:fillRect/>
          </a:stretch>
        </p:blipFill>
        <p:spPr>
          <a:xfrm>
            <a:off x="1257727" y="1180618"/>
            <a:ext cx="10037420" cy="5382228"/>
          </a:xfrm>
        </p:spPr>
      </p:pic>
    </p:spTree>
    <p:extLst>
      <p:ext uri="{BB962C8B-B14F-4D97-AF65-F5344CB8AC3E}">
        <p14:creationId xmlns:p14="http://schemas.microsoft.com/office/powerpoint/2010/main" val="25819096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B9F55-D573-E9A4-8CF1-7F1D88A63731}"/>
              </a:ext>
            </a:extLst>
          </p:cNvPr>
          <p:cNvSpPr>
            <a:spLocks noGrp="1"/>
          </p:cNvSpPr>
          <p:nvPr>
            <p:ph type="title"/>
          </p:nvPr>
        </p:nvSpPr>
        <p:spPr>
          <a:xfrm>
            <a:off x="919223" y="168355"/>
            <a:ext cx="10515600" cy="1325563"/>
          </a:xfrm>
        </p:spPr>
        <p:txBody>
          <a:bodyPr/>
          <a:lstStyle/>
          <a:p>
            <a:r>
              <a:rPr lang="en-US" b="1" dirty="0">
                <a:solidFill>
                  <a:schemeClr val="accent2"/>
                </a:solidFill>
              </a:rPr>
              <a:t>POWER SECTOR – Benefits/Costs</a:t>
            </a:r>
          </a:p>
        </p:txBody>
      </p:sp>
      <p:pic>
        <p:nvPicPr>
          <p:cNvPr id="5" name="Content Placeholder 4">
            <a:extLst>
              <a:ext uri="{FF2B5EF4-FFF2-40B4-BE49-F238E27FC236}">
                <a16:creationId xmlns:a16="http://schemas.microsoft.com/office/drawing/2014/main" id="{1F52BDBB-B2AD-50F2-66A9-CC3F1EFDB2F5}"/>
              </a:ext>
            </a:extLst>
          </p:cNvPr>
          <p:cNvPicPr>
            <a:picLocks noGrp="1" noChangeAspect="1"/>
          </p:cNvPicPr>
          <p:nvPr>
            <p:ph idx="1"/>
          </p:nvPr>
        </p:nvPicPr>
        <p:blipFill>
          <a:blip r:embed="rId2"/>
          <a:stretch>
            <a:fillRect/>
          </a:stretch>
        </p:blipFill>
        <p:spPr>
          <a:xfrm>
            <a:off x="922501" y="1167590"/>
            <a:ext cx="10200770" cy="5418405"/>
          </a:xfrm>
        </p:spPr>
      </p:pic>
    </p:spTree>
    <p:extLst>
      <p:ext uri="{BB962C8B-B14F-4D97-AF65-F5344CB8AC3E}">
        <p14:creationId xmlns:p14="http://schemas.microsoft.com/office/powerpoint/2010/main" val="4063733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1603C0-327E-4DF3-B6D2-9F53B0F049EE}"/>
              </a:ext>
            </a:extLst>
          </p:cNvPr>
          <p:cNvSpPr>
            <a:spLocks noGrp="1"/>
          </p:cNvSpPr>
          <p:nvPr>
            <p:ph type="title"/>
          </p:nvPr>
        </p:nvSpPr>
        <p:spPr>
          <a:xfrm>
            <a:off x="6096000" y="156238"/>
            <a:ext cx="3737268" cy="1320800"/>
          </a:xfrm>
        </p:spPr>
        <p:txBody>
          <a:bodyPr vert="horz" lIns="91440" tIns="45720" rIns="91440" bIns="45720" rtlCol="0" anchor="t">
            <a:normAutofit fontScale="90000"/>
          </a:bodyPr>
          <a:lstStyle/>
          <a:p>
            <a:pPr>
              <a:lnSpc>
                <a:spcPct val="90000"/>
              </a:lnSpc>
            </a:pPr>
            <a:r>
              <a:rPr lang="en-US" b="1" u="sng" dirty="0">
                <a:solidFill>
                  <a:schemeClr val="accent6">
                    <a:lumMod val="75000"/>
                  </a:schemeClr>
                </a:solidFill>
              </a:rPr>
              <a:t>ADAPTATION</a:t>
            </a:r>
            <a:br>
              <a:rPr lang="en-US" sz="2000" dirty="0"/>
            </a:br>
            <a:br>
              <a:rPr lang="en-US" sz="2000" dirty="0"/>
            </a:br>
            <a:r>
              <a:rPr lang="en-US" sz="2000" dirty="0"/>
              <a:t>E.O. 14008 on Tackling the Climate Crisis at Home and Abroad, Section 211 (Jan. 27, 2021)</a:t>
            </a:r>
            <a:br>
              <a:rPr lang="en-US" sz="2000" dirty="0"/>
            </a:br>
            <a:br>
              <a:rPr lang="en-US" sz="2000" dirty="0"/>
            </a:br>
            <a:endParaRPr lang="en-US" sz="2000" dirty="0"/>
          </a:p>
        </p:txBody>
      </p:sp>
      <p:sp>
        <p:nvSpPr>
          <p:cNvPr id="3" name="Content Placeholder 2">
            <a:extLst>
              <a:ext uri="{FF2B5EF4-FFF2-40B4-BE49-F238E27FC236}">
                <a16:creationId xmlns:a16="http://schemas.microsoft.com/office/drawing/2014/main" id="{9E0974D6-55E6-49F1-9509-8EB84A3A2815}"/>
              </a:ext>
            </a:extLst>
          </p:cNvPr>
          <p:cNvSpPr>
            <a:spLocks noGrp="1"/>
          </p:cNvSpPr>
          <p:nvPr>
            <p:ph sz="half" idx="1"/>
          </p:nvPr>
        </p:nvSpPr>
        <p:spPr>
          <a:xfrm>
            <a:off x="5209563" y="2160589"/>
            <a:ext cx="4064439" cy="3880773"/>
          </a:xfrm>
        </p:spPr>
        <p:txBody>
          <a:bodyPr vert="horz" lIns="91440" tIns="45720" rIns="91440" bIns="45720" rtlCol="0">
            <a:normAutofit lnSpcReduction="10000"/>
          </a:bodyPr>
          <a:lstStyle/>
          <a:p>
            <a:pPr marL="0" indent="0"/>
            <a:r>
              <a:rPr lang="en-US" dirty="0"/>
              <a:t>“The head of each agency shall submit a draft action plan… within 120 days of the date of this order that describes steps the agency can take with regard to its facilities and operations to </a:t>
            </a:r>
            <a:r>
              <a:rPr lang="en-US" b="1" dirty="0"/>
              <a:t>bolster adaptation and increase resilience to the impacts of climate change</a:t>
            </a:r>
            <a:r>
              <a:rPr lang="en-US" dirty="0"/>
              <a:t>.”</a:t>
            </a:r>
          </a:p>
        </p:txBody>
      </p:sp>
      <p:pic>
        <p:nvPicPr>
          <p:cNvPr id="6" name="Content Placeholder 5" descr="A person sitting at a desk writing on a book&#10;&#10;Description automatically generated with medium confidence">
            <a:extLst>
              <a:ext uri="{FF2B5EF4-FFF2-40B4-BE49-F238E27FC236}">
                <a16:creationId xmlns:a16="http://schemas.microsoft.com/office/drawing/2014/main" id="{C3331444-D5CF-4001-8FE1-54C3A02EAA96}"/>
              </a:ext>
            </a:extLst>
          </p:cNvPr>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25625" r="30125"/>
          <a:stretch/>
        </p:blipFill>
        <p:spPr>
          <a:xfrm>
            <a:off x="20" y="-1"/>
            <a:ext cx="5394940" cy="6858001"/>
          </a:xfrm>
          <a:custGeom>
            <a:avLst/>
            <a:gdLst/>
            <a:ahLst/>
            <a:cxnLst/>
            <a:rect l="l" t="t" r="r" b="b"/>
            <a:pathLst>
              <a:path w="5394960" h="6858000">
                <a:moveTo>
                  <a:pt x="842596" y="0"/>
                </a:moveTo>
                <a:lnTo>
                  <a:pt x="5394960" y="0"/>
                </a:lnTo>
                <a:lnTo>
                  <a:pt x="5394960" y="21851"/>
                </a:lnTo>
                <a:lnTo>
                  <a:pt x="4365943" y="6858000"/>
                </a:lnTo>
                <a:lnTo>
                  <a:pt x="0" y="6858000"/>
                </a:lnTo>
                <a:lnTo>
                  <a:pt x="0" y="5666154"/>
                </a:lnTo>
                <a:close/>
              </a:path>
            </a:pathLst>
          </a:custGeom>
        </p:spPr>
      </p:pic>
    </p:spTree>
    <p:extLst>
      <p:ext uri="{BB962C8B-B14F-4D97-AF65-F5344CB8AC3E}">
        <p14:creationId xmlns:p14="http://schemas.microsoft.com/office/powerpoint/2010/main" val="24703979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descr="A collage of a person&#10;&#10;Description automatically generated with low confidence">
            <a:extLst>
              <a:ext uri="{FF2B5EF4-FFF2-40B4-BE49-F238E27FC236}">
                <a16:creationId xmlns:a16="http://schemas.microsoft.com/office/drawing/2014/main" id="{491F99CB-284C-4489-B12B-FA76760DFBBF}"/>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876174" y="1168399"/>
            <a:ext cx="3618928" cy="4610101"/>
          </a:xfrm>
          <a:prstGeom prst="rect">
            <a:avLst/>
          </a:prstGeom>
        </p:spPr>
      </p:pic>
      <p:graphicFrame>
        <p:nvGraphicFramePr>
          <p:cNvPr id="3" name="Content Placeholder 2">
            <a:extLst>
              <a:ext uri="{FF2B5EF4-FFF2-40B4-BE49-F238E27FC236}">
                <a16:creationId xmlns:a16="http://schemas.microsoft.com/office/drawing/2014/main" id="{4C4CA66F-5FC1-40A6-879F-97B813BD66F9}"/>
              </a:ext>
            </a:extLst>
          </p:cNvPr>
          <p:cNvGraphicFramePr>
            <a:graphicFrameLocks noGrp="1"/>
          </p:cNvGraphicFramePr>
          <p:nvPr>
            <p:ph sz="half" idx="2"/>
          </p:nvPr>
        </p:nvGraphicFramePr>
        <p:xfrm>
          <a:off x="6855386" y="252664"/>
          <a:ext cx="5117099" cy="63526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0224488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3105DA-B786-4041-A9CD-0EBCFCF338FE}"/>
              </a:ext>
            </a:extLst>
          </p:cNvPr>
          <p:cNvSpPr>
            <a:spLocks noGrp="1"/>
          </p:cNvSpPr>
          <p:nvPr>
            <p:ph type="title"/>
          </p:nvPr>
        </p:nvSpPr>
        <p:spPr/>
        <p:txBody>
          <a:bodyPr/>
          <a:lstStyle/>
          <a:p>
            <a:endParaRPr lang="en-US" dirty="0"/>
          </a:p>
        </p:txBody>
      </p:sp>
      <p:pic>
        <p:nvPicPr>
          <p:cNvPr id="6" name="Content Placeholder 5">
            <a:extLst>
              <a:ext uri="{FF2B5EF4-FFF2-40B4-BE49-F238E27FC236}">
                <a16:creationId xmlns:a16="http://schemas.microsoft.com/office/drawing/2014/main" id="{095BFE0C-0964-46CA-8BE8-8CE871BFCF83}"/>
              </a:ext>
            </a:extLst>
          </p:cNvPr>
          <p:cNvPicPr>
            <a:picLocks noGrp="1" noChangeAspect="1"/>
          </p:cNvPicPr>
          <p:nvPr>
            <p:ph sz="half" idx="1"/>
          </p:nvPr>
        </p:nvPicPr>
        <p:blipFill>
          <a:blip r:embed="rId3"/>
          <a:stretch>
            <a:fillRect/>
          </a:stretch>
        </p:blipFill>
        <p:spPr>
          <a:xfrm>
            <a:off x="573437" y="49865"/>
            <a:ext cx="5672984" cy="7070408"/>
          </a:xfrm>
        </p:spPr>
      </p:pic>
      <p:graphicFrame>
        <p:nvGraphicFramePr>
          <p:cNvPr id="7" name="Content Placeholder 6">
            <a:extLst>
              <a:ext uri="{FF2B5EF4-FFF2-40B4-BE49-F238E27FC236}">
                <a16:creationId xmlns:a16="http://schemas.microsoft.com/office/drawing/2014/main" id="{7805081D-EB82-4F5F-A4BD-04A28C806267}"/>
              </a:ext>
            </a:extLst>
          </p:cNvPr>
          <p:cNvGraphicFramePr>
            <a:graphicFrameLocks noGrp="1"/>
          </p:cNvGraphicFramePr>
          <p:nvPr>
            <p:ph sz="half" idx="2"/>
          </p:nvPr>
        </p:nvGraphicFramePr>
        <p:xfrm>
          <a:off x="6706589" y="1793173"/>
          <a:ext cx="4468091" cy="29349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446059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E0530-EE56-474E-957D-72FCB0970844}"/>
              </a:ext>
            </a:extLst>
          </p:cNvPr>
          <p:cNvSpPr>
            <a:spLocks noGrp="1"/>
          </p:cNvSpPr>
          <p:nvPr>
            <p:ph type="title"/>
          </p:nvPr>
        </p:nvSpPr>
        <p:spPr>
          <a:xfrm>
            <a:off x="686834" y="1153572"/>
            <a:ext cx="3200400" cy="4461163"/>
          </a:xfrm>
          <a:solidFill>
            <a:schemeClr val="accent2"/>
          </a:solidFill>
        </p:spPr>
        <p:txBody>
          <a:bodyPr>
            <a:normAutofit/>
          </a:bodyPr>
          <a:lstStyle/>
          <a:p>
            <a:r>
              <a:rPr lang="en-US" dirty="0">
                <a:solidFill>
                  <a:srgbClr val="FFFFFF"/>
                </a:solidFill>
                <a:cs typeface="Calibri"/>
              </a:rPr>
              <a:t>Adaptation Plan – Overview</a:t>
            </a:r>
            <a:endParaRPr lang="en-US" i="1" dirty="0">
              <a:solidFill>
                <a:srgbClr val="FFFFFF"/>
              </a:solidFill>
              <a:cs typeface="Calibri"/>
            </a:endParaRPr>
          </a:p>
        </p:txBody>
      </p:sp>
      <p:graphicFrame>
        <p:nvGraphicFramePr>
          <p:cNvPr id="4" name="Content Placeholder 3">
            <a:extLst>
              <a:ext uri="{FF2B5EF4-FFF2-40B4-BE49-F238E27FC236}">
                <a16:creationId xmlns:a16="http://schemas.microsoft.com/office/drawing/2014/main" id="{7DD4EE22-A378-7A0C-8FC3-014CBFB4F780}"/>
              </a:ext>
            </a:extLst>
          </p:cNvPr>
          <p:cNvGraphicFramePr>
            <a:graphicFrameLocks noGrp="1"/>
          </p:cNvGraphicFramePr>
          <p:nvPr>
            <p:ph idx="1"/>
            <p:extLst>
              <p:ext uri="{D42A27DB-BD31-4B8C-83A1-F6EECF244321}">
                <p14:modId xmlns:p14="http://schemas.microsoft.com/office/powerpoint/2010/main" val="4193874469"/>
              </p:ext>
            </p:extLst>
          </p:nvPr>
        </p:nvGraphicFramePr>
        <p:xfrm>
          <a:off x="4447308" y="433954"/>
          <a:ext cx="7186527" cy="57430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895584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FD58B-F65C-4F40-8C92-B75BD23C8546}"/>
              </a:ext>
            </a:extLst>
          </p:cNvPr>
          <p:cNvSpPr>
            <a:spLocks noGrp="1"/>
          </p:cNvSpPr>
          <p:nvPr>
            <p:ph type="title"/>
          </p:nvPr>
        </p:nvSpPr>
        <p:spPr>
          <a:xfrm>
            <a:off x="686834" y="1153572"/>
            <a:ext cx="3200400" cy="4461163"/>
          </a:xfrm>
          <a:solidFill>
            <a:schemeClr val="accent2"/>
          </a:solidFill>
        </p:spPr>
        <p:txBody>
          <a:bodyPr>
            <a:normAutofit/>
          </a:bodyPr>
          <a:lstStyle/>
          <a:p>
            <a:r>
              <a:rPr lang="en-US" dirty="0">
                <a:solidFill>
                  <a:srgbClr val="FFFFFF"/>
                </a:solidFill>
              </a:rPr>
              <a:t>What’s New In The Vulnerability Assessment?</a:t>
            </a:r>
          </a:p>
        </p:txBody>
      </p:sp>
      <p:sp>
        <p:nvSpPr>
          <p:cNvPr id="7" name="Content Placeholder 6">
            <a:extLst>
              <a:ext uri="{FF2B5EF4-FFF2-40B4-BE49-F238E27FC236}">
                <a16:creationId xmlns:a16="http://schemas.microsoft.com/office/drawing/2014/main" id="{5B34877E-D1F6-49B0-A673-698C734AEE4E}"/>
              </a:ext>
            </a:extLst>
          </p:cNvPr>
          <p:cNvSpPr>
            <a:spLocks noGrp="1"/>
          </p:cNvSpPr>
          <p:nvPr>
            <p:ph idx="1"/>
          </p:nvPr>
        </p:nvSpPr>
        <p:spPr>
          <a:xfrm>
            <a:off x="4447308" y="591344"/>
            <a:ext cx="6906491" cy="5585619"/>
          </a:xfrm>
        </p:spPr>
        <p:txBody>
          <a:bodyPr anchor="ctr">
            <a:normAutofit/>
          </a:bodyPr>
          <a:lstStyle/>
          <a:p>
            <a:r>
              <a:rPr lang="en-US" dirty="0"/>
              <a:t>Updated science from 2014</a:t>
            </a:r>
          </a:p>
          <a:p>
            <a:r>
              <a:rPr lang="en-US" dirty="0"/>
              <a:t>Increased emphasis on </a:t>
            </a:r>
            <a:r>
              <a:rPr lang="en-US" b="1" dirty="0">
                <a:solidFill>
                  <a:schemeClr val="accent1"/>
                </a:solidFill>
              </a:rPr>
              <a:t>vulnerable populations</a:t>
            </a:r>
          </a:p>
          <a:p>
            <a:r>
              <a:rPr lang="en-US" dirty="0"/>
              <a:t>New subsection specific to </a:t>
            </a:r>
            <a:r>
              <a:rPr lang="en-US" b="1" dirty="0">
                <a:solidFill>
                  <a:schemeClr val="accent1"/>
                </a:solidFill>
              </a:rPr>
              <a:t>Puerto Rico and the USVI</a:t>
            </a:r>
            <a:r>
              <a:rPr lang="en-US" dirty="0"/>
              <a:t>, including impacts of Hurricanes Maria and Irma</a:t>
            </a:r>
          </a:p>
          <a:p>
            <a:r>
              <a:rPr lang="en-US" dirty="0"/>
              <a:t>Updated observations from </a:t>
            </a:r>
            <a:r>
              <a:rPr lang="en-US" b="1" dirty="0">
                <a:solidFill>
                  <a:schemeClr val="accent1"/>
                </a:solidFill>
              </a:rPr>
              <a:t>Indian Nation </a:t>
            </a:r>
            <a:r>
              <a:rPr lang="en-US" dirty="0"/>
              <a:t>partners</a:t>
            </a:r>
          </a:p>
          <a:p>
            <a:r>
              <a:rPr lang="en-US" dirty="0"/>
              <a:t>New subsection on </a:t>
            </a:r>
            <a:r>
              <a:rPr lang="en-US" b="1" dirty="0">
                <a:solidFill>
                  <a:schemeClr val="accent1"/>
                </a:solidFill>
              </a:rPr>
              <a:t>Trauma/Mental health</a:t>
            </a:r>
          </a:p>
          <a:p>
            <a:r>
              <a:rPr lang="en-US" dirty="0"/>
              <a:t>New subsection on </a:t>
            </a:r>
            <a:r>
              <a:rPr lang="en-US" b="1" dirty="0">
                <a:solidFill>
                  <a:schemeClr val="accent1"/>
                </a:solidFill>
              </a:rPr>
              <a:t>conflict</a:t>
            </a:r>
          </a:p>
          <a:p>
            <a:endParaRPr lang="en-US" dirty="0"/>
          </a:p>
          <a:p>
            <a:endParaRPr lang="en-US" dirty="0"/>
          </a:p>
          <a:p>
            <a:endParaRPr lang="en-US" dirty="0"/>
          </a:p>
        </p:txBody>
      </p:sp>
    </p:spTree>
    <p:extLst>
      <p:ext uri="{BB962C8B-B14F-4D97-AF65-F5344CB8AC3E}">
        <p14:creationId xmlns:p14="http://schemas.microsoft.com/office/powerpoint/2010/main" val="1839878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7BFC99-3090-4ACE-A028-5D10CA005DCC}"/>
              </a:ext>
            </a:extLst>
          </p:cNvPr>
          <p:cNvSpPr>
            <a:spLocks noGrp="1"/>
          </p:cNvSpPr>
          <p:nvPr>
            <p:ph type="title"/>
          </p:nvPr>
        </p:nvSpPr>
        <p:spPr>
          <a:xfrm>
            <a:off x="838200" y="557188"/>
            <a:ext cx="10515600" cy="1133499"/>
          </a:xfrm>
        </p:spPr>
        <p:txBody>
          <a:bodyPr>
            <a:normAutofit/>
          </a:bodyPr>
          <a:lstStyle/>
          <a:p>
            <a:r>
              <a:rPr lang="en-US" sz="5200" dirty="0"/>
              <a:t>Priority Actions: 6 THEMES</a:t>
            </a:r>
          </a:p>
        </p:txBody>
      </p:sp>
      <p:graphicFrame>
        <p:nvGraphicFramePr>
          <p:cNvPr id="26" name="Content Placeholder 2">
            <a:extLst>
              <a:ext uri="{FF2B5EF4-FFF2-40B4-BE49-F238E27FC236}">
                <a16:creationId xmlns:a16="http://schemas.microsoft.com/office/drawing/2014/main" id="{B5F54985-4B02-EB97-7462-1C2508B07F16}"/>
              </a:ext>
            </a:extLst>
          </p:cNvPr>
          <p:cNvGraphicFramePr>
            <a:graphicFrameLocks noGrp="1"/>
          </p:cNvGraphicFramePr>
          <p:nvPr>
            <p:ph idx="1"/>
            <p:extLst>
              <p:ext uri="{D42A27DB-BD31-4B8C-83A1-F6EECF244321}">
                <p14:modId xmlns:p14="http://schemas.microsoft.com/office/powerpoint/2010/main" val="3913600274"/>
              </p:ext>
            </p:extLst>
          </p:nvPr>
        </p:nvGraphicFramePr>
        <p:xfrm>
          <a:off x="838200" y="1828800"/>
          <a:ext cx="10515600" cy="43525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tar: 5 Points 2">
            <a:extLst>
              <a:ext uri="{FF2B5EF4-FFF2-40B4-BE49-F238E27FC236}">
                <a16:creationId xmlns:a16="http://schemas.microsoft.com/office/drawing/2014/main" id="{43804648-A2D4-F788-B641-B33EE048C20A}"/>
              </a:ext>
            </a:extLst>
          </p:cNvPr>
          <p:cNvSpPr/>
          <p:nvPr/>
        </p:nvSpPr>
        <p:spPr>
          <a:xfrm>
            <a:off x="7089420" y="4166886"/>
            <a:ext cx="665620" cy="590772"/>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04095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8DB9CD9-59B1-4D73-BC4C-98796A48EF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74A6A9-41FF-4E33-AFA8-F9F81436A5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gradFill flip="none" rotWithShape="1">
            <a:gsLst>
              <a:gs pos="16000">
                <a:schemeClr val="accent6">
                  <a:alpha val="20000"/>
                </a:schemeClr>
              </a:gs>
              <a:gs pos="85000">
                <a:schemeClr val="accent1">
                  <a:alpha val="40000"/>
                </a:schemeClr>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721D730E-1F97-4071-B143-B05E6D2599B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303402" y="3985"/>
            <a:ext cx="9772765" cy="6858000"/>
            <a:chOff x="1303402" y="3985"/>
            <a:chExt cx="9772765" cy="6858000"/>
          </a:xfrm>
        </p:grpSpPr>
        <p:sp>
          <p:nvSpPr>
            <p:cNvPr id="13" name="Freeform: Shape 12">
              <a:extLst>
                <a:ext uri="{FF2B5EF4-FFF2-40B4-BE49-F238E27FC236}">
                  <a16:creationId xmlns:a16="http://schemas.microsoft.com/office/drawing/2014/main" id="{B3849C6A-9EE5-4604-8EAE-DD4796B79D8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60551" y="3985"/>
              <a:ext cx="9313016" cy="6858000"/>
            </a:xfrm>
            <a:custGeom>
              <a:avLst/>
              <a:gdLst>
                <a:gd name="connsiteX0" fmla="*/ 6993556 w 9313016"/>
                <a:gd name="connsiteY0" fmla="*/ 0 h 6858000"/>
                <a:gd name="connsiteX1" fmla="*/ 7358516 w 9313016"/>
                <a:gd name="connsiteY1" fmla="*/ 0 h 6858000"/>
                <a:gd name="connsiteX2" fmla="*/ 7475006 w 9313016"/>
                <a:gd name="connsiteY2" fmla="*/ 82722 h 6858000"/>
                <a:gd name="connsiteX3" fmla="*/ 7816357 w 9313016"/>
                <a:gd name="connsiteY3" fmla="*/ 358482 h 6858000"/>
                <a:gd name="connsiteX4" fmla="*/ 8421752 w 9313016"/>
                <a:gd name="connsiteY4" fmla="*/ 995405 h 6858000"/>
                <a:gd name="connsiteX5" fmla="*/ 8897059 w 9313016"/>
                <a:gd name="connsiteY5" fmla="*/ 1737211 h 6858000"/>
                <a:gd name="connsiteX6" fmla="*/ 9206633 w 9313016"/>
                <a:gd name="connsiteY6" fmla="*/ 2564460 h 6858000"/>
                <a:gd name="connsiteX7" fmla="*/ 9286787 w 9313016"/>
                <a:gd name="connsiteY7" fmla="*/ 3000164 h 6858000"/>
                <a:gd name="connsiteX8" fmla="*/ 9312914 w 9313016"/>
                <a:gd name="connsiteY8" fmla="*/ 3442493 h 6858000"/>
                <a:gd name="connsiteX9" fmla="*/ 9190562 w 9313016"/>
                <a:gd name="connsiteY9" fmla="*/ 4316686 h 6858000"/>
                <a:gd name="connsiteX10" fmla="*/ 9043416 w 9313016"/>
                <a:gd name="connsiteY10" fmla="*/ 4734917 h 6858000"/>
                <a:gd name="connsiteX11" fmla="*/ 8809657 w 9313016"/>
                <a:gd name="connsiteY11" fmla="*/ 5128718 h 6858000"/>
                <a:gd name="connsiteX12" fmla="*/ 8645997 w 9313016"/>
                <a:gd name="connsiteY12" fmla="*/ 5297441 h 6858000"/>
                <a:gd name="connsiteX13" fmla="*/ 8457787 w 9313016"/>
                <a:gd name="connsiteY13" fmla="*/ 5433763 h 6858000"/>
                <a:gd name="connsiteX14" fmla="*/ 8260803 w 9313016"/>
                <a:gd name="connsiteY14" fmla="*/ 5541237 h 6858000"/>
                <a:gd name="connsiteX15" fmla="*/ 8066136 w 9313016"/>
                <a:gd name="connsiteY15" fmla="*/ 5635704 h 6858000"/>
                <a:gd name="connsiteX16" fmla="*/ 7698638 w 9313016"/>
                <a:gd name="connsiteY16" fmla="*/ 5837163 h 6858000"/>
                <a:gd name="connsiteX17" fmla="*/ 7370135 w 9313016"/>
                <a:gd name="connsiteY17" fmla="*/ 6090081 h 6858000"/>
                <a:gd name="connsiteX18" fmla="*/ 7218897 w 9313016"/>
                <a:gd name="connsiteY18" fmla="*/ 6235860 h 6858000"/>
                <a:gd name="connsiteX19" fmla="*/ 7070665 w 9313016"/>
                <a:gd name="connsiteY19" fmla="*/ 6387205 h 6858000"/>
                <a:gd name="connsiteX20" fmla="*/ 6779035 w 9313016"/>
                <a:gd name="connsiteY20" fmla="*/ 6697100 h 6858000"/>
                <a:gd name="connsiteX21" fmla="*/ 6631837 w 9313016"/>
                <a:gd name="connsiteY21" fmla="*/ 6852239 h 6858000"/>
                <a:gd name="connsiteX22" fmla="*/ 6626221 w 9313016"/>
                <a:gd name="connsiteY22" fmla="*/ 6858000 h 6858000"/>
                <a:gd name="connsiteX23" fmla="*/ 6424725 w 9313016"/>
                <a:gd name="connsiteY23" fmla="*/ 6858000 h 6858000"/>
                <a:gd name="connsiteX24" fmla="*/ 6527382 w 9313016"/>
                <a:gd name="connsiteY24" fmla="*/ 6756333 h 6858000"/>
                <a:gd name="connsiteX25" fmla="*/ 6674233 w 9313016"/>
                <a:gd name="connsiteY25" fmla="*/ 6603450 h 6858000"/>
                <a:gd name="connsiteX26" fmla="*/ 6965813 w 9313016"/>
                <a:gd name="connsiteY26" fmla="*/ 6292932 h 6858000"/>
                <a:gd name="connsiteX27" fmla="*/ 7112961 w 9313016"/>
                <a:gd name="connsiteY27" fmla="*/ 6137505 h 6858000"/>
                <a:gd name="connsiteX28" fmla="*/ 7264790 w 9313016"/>
                <a:gd name="connsiteY28" fmla="*/ 5983710 h 6858000"/>
                <a:gd name="connsiteX29" fmla="*/ 7974595 w 9313016"/>
                <a:gd name="connsiteY29" fmla="*/ 5470773 h 6858000"/>
                <a:gd name="connsiteX30" fmla="*/ 8331591 w 9313016"/>
                <a:gd name="connsiteY30" fmla="*/ 5254048 h 6858000"/>
                <a:gd name="connsiteX31" fmla="*/ 8599807 w 9313016"/>
                <a:gd name="connsiteY31" fmla="*/ 4980010 h 6858000"/>
                <a:gd name="connsiteX32" fmla="*/ 8766474 w 9313016"/>
                <a:gd name="connsiteY32" fmla="*/ 4631524 h 6858000"/>
                <a:gd name="connsiteX33" fmla="*/ 8865755 w 9313016"/>
                <a:gd name="connsiteY33" fmla="*/ 4244445 h 6858000"/>
                <a:gd name="connsiteX34" fmla="*/ 8882911 w 9313016"/>
                <a:gd name="connsiteY34" fmla="*/ 4145659 h 6858000"/>
                <a:gd name="connsiteX35" fmla="*/ 8897403 w 9313016"/>
                <a:gd name="connsiteY35" fmla="*/ 4046633 h 6858000"/>
                <a:gd name="connsiteX36" fmla="*/ 8908298 w 9313016"/>
                <a:gd name="connsiteY36" fmla="*/ 3947271 h 6858000"/>
                <a:gd name="connsiteX37" fmla="*/ 8916184 w 9313016"/>
                <a:gd name="connsiteY37" fmla="*/ 3847765 h 6858000"/>
                <a:gd name="connsiteX38" fmla="*/ 8920670 w 9313016"/>
                <a:gd name="connsiteY38" fmla="*/ 3449597 h 6858000"/>
                <a:gd name="connsiteX39" fmla="*/ 8914607 w 9313016"/>
                <a:gd name="connsiteY39" fmla="*/ 3350283 h 6858000"/>
                <a:gd name="connsiteX40" fmla="*/ 8905340 w 9313016"/>
                <a:gd name="connsiteY40" fmla="*/ 3251209 h 6858000"/>
                <a:gd name="connsiteX41" fmla="*/ 8893854 w 9313016"/>
                <a:gd name="connsiteY41" fmla="*/ 3152376 h 6858000"/>
                <a:gd name="connsiteX42" fmla="*/ 8879706 w 9313016"/>
                <a:gd name="connsiteY42" fmla="*/ 3053878 h 6858000"/>
                <a:gd name="connsiteX43" fmla="*/ 8797531 w 9313016"/>
                <a:gd name="connsiteY43" fmla="*/ 2663966 h 6858000"/>
                <a:gd name="connsiteX44" fmla="*/ 8520442 w 9313016"/>
                <a:gd name="connsiteY44" fmla="*/ 1911983 h 6858000"/>
                <a:gd name="connsiteX45" fmla="*/ 8332626 w 9313016"/>
                <a:gd name="connsiteY45" fmla="*/ 1553608 h 6858000"/>
                <a:gd name="connsiteX46" fmla="*/ 8116317 w 9313016"/>
                <a:gd name="connsiteY46" fmla="*/ 1208529 h 6858000"/>
                <a:gd name="connsiteX47" fmla="*/ 7873293 w 9313016"/>
                <a:gd name="connsiteY47" fmla="*/ 878284 h 6858000"/>
                <a:gd name="connsiteX48" fmla="*/ 7604337 w 9313016"/>
                <a:gd name="connsiteY48" fmla="*/ 565125 h 6858000"/>
                <a:gd name="connsiteX49" fmla="*/ 7311128 w 9313016"/>
                <a:gd name="connsiteY49" fmla="*/ 270591 h 6858000"/>
                <a:gd name="connsiteX50" fmla="*/ 1752019 w 9313016"/>
                <a:gd name="connsiteY50" fmla="*/ 0 h 6858000"/>
                <a:gd name="connsiteX51" fmla="*/ 2155804 w 9313016"/>
                <a:gd name="connsiteY51" fmla="*/ 0 h 6858000"/>
                <a:gd name="connsiteX52" fmla="*/ 2103975 w 9313016"/>
                <a:gd name="connsiteY52" fmla="*/ 40789 h 6858000"/>
                <a:gd name="connsiteX53" fmla="*/ 1656310 w 9313016"/>
                <a:gd name="connsiteY53" fmla="*/ 470035 h 6858000"/>
                <a:gd name="connsiteX54" fmla="*/ 806013 w 9313016"/>
                <a:gd name="connsiteY54" fmla="*/ 1841133 h 6858000"/>
                <a:gd name="connsiteX55" fmla="*/ 580685 w 9313016"/>
                <a:gd name="connsiteY55" fmla="*/ 2606364 h 6858000"/>
                <a:gd name="connsiteX56" fmla="*/ 503489 w 9313016"/>
                <a:gd name="connsiteY56" fmla="*/ 3397276 h 6858000"/>
                <a:gd name="connsiteX57" fmla="*/ 570135 w 9313016"/>
                <a:gd name="connsiteY57" fmla="*/ 4188235 h 6858000"/>
                <a:gd name="connsiteX58" fmla="*/ 783387 w 9313016"/>
                <a:gd name="connsiteY58" fmla="*/ 4953850 h 6858000"/>
                <a:gd name="connsiteX59" fmla="*/ 1628014 w 9313016"/>
                <a:gd name="connsiteY59" fmla="*/ 6308245 h 6858000"/>
                <a:gd name="connsiteX60" fmla="*/ 2235998 w 9313016"/>
                <a:gd name="connsiteY60" fmla="*/ 6844829 h 6858000"/>
                <a:gd name="connsiteX61" fmla="*/ 2255028 w 9313016"/>
                <a:gd name="connsiteY61" fmla="*/ 6858000 h 6858000"/>
                <a:gd name="connsiteX62" fmla="*/ 1578787 w 9313016"/>
                <a:gd name="connsiteY62" fmla="*/ 6858000 h 6858000"/>
                <a:gd name="connsiteX63" fmla="*/ 1465153 w 9313016"/>
                <a:gd name="connsiteY63" fmla="*/ 6759050 h 6858000"/>
                <a:gd name="connsiteX64" fmla="*/ 1303650 w 9313016"/>
                <a:gd name="connsiteY64" fmla="*/ 6604267 h 6858000"/>
                <a:gd name="connsiteX65" fmla="*/ 323708 w 9313016"/>
                <a:gd name="connsiteY65" fmla="*/ 5126365 h 6858000"/>
                <a:gd name="connsiteX66" fmla="*/ 872 w 9313016"/>
                <a:gd name="connsiteY66" fmla="*/ 3391228 h 6858000"/>
                <a:gd name="connsiteX67" fmla="*/ 105428 w 9313016"/>
                <a:gd name="connsiteY67" fmla="*/ 2511899 h 6858000"/>
                <a:gd name="connsiteX68" fmla="*/ 384933 w 9313016"/>
                <a:gd name="connsiteY68" fmla="*/ 1670971 h 6858000"/>
                <a:gd name="connsiteX69" fmla="*/ 1433593 w 9313016"/>
                <a:gd name="connsiteY69" fmla="*/ 256095 h 6858000"/>
                <a:gd name="connsiteX70" fmla="*/ 1602664 w 9313016"/>
                <a:gd name="connsiteY70" fmla="*/ 1137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9313016" h="6858000">
                  <a:moveTo>
                    <a:pt x="6993556" y="0"/>
                  </a:moveTo>
                  <a:lnTo>
                    <a:pt x="7358516" y="0"/>
                  </a:lnTo>
                  <a:lnTo>
                    <a:pt x="7475006" y="82722"/>
                  </a:lnTo>
                  <a:cubicBezTo>
                    <a:pt x="7592423" y="169778"/>
                    <a:pt x="7706366" y="261748"/>
                    <a:pt x="7816357" y="358482"/>
                  </a:cubicBezTo>
                  <a:cubicBezTo>
                    <a:pt x="8036559" y="551589"/>
                    <a:pt x="8239655" y="764905"/>
                    <a:pt x="8421752" y="995405"/>
                  </a:cubicBezTo>
                  <a:cubicBezTo>
                    <a:pt x="8604736" y="1225282"/>
                    <a:pt x="8763567" y="1474646"/>
                    <a:pt x="8897059" y="1737211"/>
                  </a:cubicBezTo>
                  <a:cubicBezTo>
                    <a:pt x="9029909" y="2000162"/>
                    <a:pt x="9134317" y="2277990"/>
                    <a:pt x="9206633" y="2564460"/>
                  </a:cubicBezTo>
                  <a:cubicBezTo>
                    <a:pt x="9242322" y="2707791"/>
                    <a:pt x="9269041" y="2853474"/>
                    <a:pt x="9286787" y="3000164"/>
                  </a:cubicBezTo>
                  <a:cubicBezTo>
                    <a:pt x="9304977" y="3146856"/>
                    <a:pt x="9314097" y="3294698"/>
                    <a:pt x="9312914" y="3442493"/>
                  </a:cubicBezTo>
                  <a:cubicBezTo>
                    <a:pt x="9309906" y="3737987"/>
                    <a:pt x="9270717" y="4033288"/>
                    <a:pt x="9190562" y="4316686"/>
                  </a:cubicBezTo>
                  <a:cubicBezTo>
                    <a:pt x="9150486" y="4458240"/>
                    <a:pt x="9103951" y="4597587"/>
                    <a:pt x="9043416" y="4734917"/>
                  </a:cubicBezTo>
                  <a:cubicBezTo>
                    <a:pt x="8982980" y="4871817"/>
                    <a:pt x="8908740" y="5007131"/>
                    <a:pt x="8809657" y="5128718"/>
                  </a:cubicBezTo>
                  <a:cubicBezTo>
                    <a:pt x="8760312" y="5189247"/>
                    <a:pt x="8706137" y="5246945"/>
                    <a:pt x="8645997" y="5297441"/>
                  </a:cubicBezTo>
                  <a:cubicBezTo>
                    <a:pt x="8586252" y="5348274"/>
                    <a:pt x="8522809" y="5393730"/>
                    <a:pt x="8457787" y="5433763"/>
                  </a:cubicBezTo>
                  <a:cubicBezTo>
                    <a:pt x="8392816" y="5474132"/>
                    <a:pt x="8326219" y="5508213"/>
                    <a:pt x="8260803" y="5541237"/>
                  </a:cubicBezTo>
                  <a:cubicBezTo>
                    <a:pt x="8195289" y="5574071"/>
                    <a:pt x="8130023" y="5604838"/>
                    <a:pt x="8066136" y="5635704"/>
                  </a:cubicBezTo>
                  <a:cubicBezTo>
                    <a:pt x="7938313" y="5697433"/>
                    <a:pt x="7815222" y="5762186"/>
                    <a:pt x="7698638" y="5837163"/>
                  </a:cubicBezTo>
                  <a:cubicBezTo>
                    <a:pt x="7582449" y="5912381"/>
                    <a:pt x="7471881" y="5996094"/>
                    <a:pt x="7370135" y="6090081"/>
                  </a:cubicBezTo>
                  <a:cubicBezTo>
                    <a:pt x="7319460" y="6136593"/>
                    <a:pt x="7268881" y="6186082"/>
                    <a:pt x="7218897" y="6235860"/>
                  </a:cubicBezTo>
                  <a:cubicBezTo>
                    <a:pt x="7168763" y="6285493"/>
                    <a:pt x="7119665" y="6336229"/>
                    <a:pt x="7070665" y="6387205"/>
                  </a:cubicBezTo>
                  <a:cubicBezTo>
                    <a:pt x="6972715" y="6489208"/>
                    <a:pt x="6876195" y="6593131"/>
                    <a:pt x="6779035" y="6697100"/>
                  </a:cubicBezTo>
                  <a:cubicBezTo>
                    <a:pt x="6730379" y="6748989"/>
                    <a:pt x="6681528" y="6800878"/>
                    <a:pt x="6631837" y="6852239"/>
                  </a:cubicBezTo>
                  <a:lnTo>
                    <a:pt x="6626221" y="6858000"/>
                  </a:lnTo>
                  <a:lnTo>
                    <a:pt x="6424725" y="6858000"/>
                  </a:lnTo>
                  <a:lnTo>
                    <a:pt x="6527382" y="6756333"/>
                  </a:lnTo>
                  <a:cubicBezTo>
                    <a:pt x="6576726" y="6705932"/>
                    <a:pt x="6625480" y="6654811"/>
                    <a:pt x="6674233" y="6603450"/>
                  </a:cubicBezTo>
                  <a:cubicBezTo>
                    <a:pt x="6771788" y="6500920"/>
                    <a:pt x="6868309" y="6396757"/>
                    <a:pt x="6965813" y="6292932"/>
                  </a:cubicBezTo>
                  <a:lnTo>
                    <a:pt x="7112961" y="6137505"/>
                  </a:lnTo>
                  <a:cubicBezTo>
                    <a:pt x="7162354" y="6085808"/>
                    <a:pt x="7211945" y="6034640"/>
                    <a:pt x="7264790" y="5983710"/>
                  </a:cubicBezTo>
                  <a:cubicBezTo>
                    <a:pt x="7472373" y="5779130"/>
                    <a:pt x="7721610" y="5610648"/>
                    <a:pt x="7974595" y="5470773"/>
                  </a:cubicBezTo>
                  <a:cubicBezTo>
                    <a:pt x="8099903" y="5399395"/>
                    <a:pt x="8224127" y="5332529"/>
                    <a:pt x="8331591" y="5254048"/>
                  </a:cubicBezTo>
                  <a:cubicBezTo>
                    <a:pt x="8439351" y="5176047"/>
                    <a:pt x="8529660" y="5085949"/>
                    <a:pt x="8599807" y="4980010"/>
                  </a:cubicBezTo>
                  <a:cubicBezTo>
                    <a:pt x="8671187" y="4875128"/>
                    <a:pt x="8723982" y="4756086"/>
                    <a:pt x="8766474" y="4631524"/>
                  </a:cubicBezTo>
                  <a:cubicBezTo>
                    <a:pt x="8808968" y="4507010"/>
                    <a:pt x="8840615" y="4375872"/>
                    <a:pt x="8865755" y="4244445"/>
                  </a:cubicBezTo>
                  <a:cubicBezTo>
                    <a:pt x="8871375" y="4211468"/>
                    <a:pt x="8878129" y="4178731"/>
                    <a:pt x="8882911" y="4145659"/>
                  </a:cubicBezTo>
                  <a:lnTo>
                    <a:pt x="8897403" y="4046633"/>
                  </a:lnTo>
                  <a:lnTo>
                    <a:pt x="8908298" y="3947271"/>
                  </a:lnTo>
                  <a:cubicBezTo>
                    <a:pt x="8912389" y="3914247"/>
                    <a:pt x="8913425" y="3880886"/>
                    <a:pt x="8916184" y="3847765"/>
                  </a:cubicBezTo>
                  <a:cubicBezTo>
                    <a:pt x="8925797" y="3715091"/>
                    <a:pt x="8925945" y="3582127"/>
                    <a:pt x="8920670" y="3449597"/>
                  </a:cubicBezTo>
                  <a:lnTo>
                    <a:pt x="8914607" y="3350283"/>
                  </a:lnTo>
                  <a:cubicBezTo>
                    <a:pt x="8911995" y="3317211"/>
                    <a:pt x="8908348" y="3284233"/>
                    <a:pt x="8905340" y="3251209"/>
                  </a:cubicBezTo>
                  <a:cubicBezTo>
                    <a:pt x="8902628" y="3218185"/>
                    <a:pt x="8897551" y="3185305"/>
                    <a:pt x="8893854" y="3152376"/>
                  </a:cubicBezTo>
                  <a:cubicBezTo>
                    <a:pt x="8890305" y="3119399"/>
                    <a:pt x="8884932" y="3086662"/>
                    <a:pt x="8879706" y="3053878"/>
                  </a:cubicBezTo>
                  <a:cubicBezTo>
                    <a:pt x="8858707" y="2922835"/>
                    <a:pt x="8831249" y="2792705"/>
                    <a:pt x="8797531" y="2663966"/>
                  </a:cubicBezTo>
                  <a:cubicBezTo>
                    <a:pt x="8728616" y="2406777"/>
                    <a:pt x="8635497" y="2155109"/>
                    <a:pt x="8520442" y="1911983"/>
                  </a:cubicBezTo>
                  <a:cubicBezTo>
                    <a:pt x="8462667" y="1790541"/>
                    <a:pt x="8400112" y="1670923"/>
                    <a:pt x="8332626" y="1553608"/>
                  </a:cubicBezTo>
                  <a:cubicBezTo>
                    <a:pt x="8265683" y="1436006"/>
                    <a:pt x="8192973" y="1321188"/>
                    <a:pt x="8116317" y="1208529"/>
                  </a:cubicBezTo>
                  <a:cubicBezTo>
                    <a:pt x="8039811" y="1095776"/>
                    <a:pt x="7958079" y="986094"/>
                    <a:pt x="7873293" y="878284"/>
                  </a:cubicBezTo>
                  <a:cubicBezTo>
                    <a:pt x="7787814" y="771002"/>
                    <a:pt x="7697999" y="666551"/>
                    <a:pt x="7604337" y="565125"/>
                  </a:cubicBezTo>
                  <a:cubicBezTo>
                    <a:pt x="7510479" y="463891"/>
                    <a:pt x="7413367" y="364818"/>
                    <a:pt x="7311128" y="270591"/>
                  </a:cubicBezTo>
                  <a:close/>
                  <a:moveTo>
                    <a:pt x="1752019" y="0"/>
                  </a:moveTo>
                  <a:lnTo>
                    <a:pt x="2155804" y="0"/>
                  </a:lnTo>
                  <a:lnTo>
                    <a:pt x="2103975" y="40789"/>
                  </a:lnTo>
                  <a:cubicBezTo>
                    <a:pt x="1943592" y="173585"/>
                    <a:pt x="1793955" y="317500"/>
                    <a:pt x="1656310" y="470035"/>
                  </a:cubicBezTo>
                  <a:cubicBezTo>
                    <a:pt x="1288172" y="876939"/>
                    <a:pt x="1002998" y="1344708"/>
                    <a:pt x="806013" y="1841133"/>
                  </a:cubicBezTo>
                  <a:cubicBezTo>
                    <a:pt x="707818" y="2089538"/>
                    <a:pt x="630868" y="2345480"/>
                    <a:pt x="580685" y="2606364"/>
                  </a:cubicBezTo>
                  <a:cubicBezTo>
                    <a:pt x="530749" y="2867250"/>
                    <a:pt x="504868" y="3132119"/>
                    <a:pt x="503489" y="3397276"/>
                  </a:cubicBezTo>
                  <a:cubicBezTo>
                    <a:pt x="501467" y="3662434"/>
                    <a:pt x="524093" y="3927351"/>
                    <a:pt x="570135" y="4188235"/>
                  </a:cubicBezTo>
                  <a:cubicBezTo>
                    <a:pt x="615734" y="4449264"/>
                    <a:pt x="688642" y="4705493"/>
                    <a:pt x="783387" y="4953850"/>
                  </a:cubicBezTo>
                  <a:cubicBezTo>
                    <a:pt x="974357" y="5449796"/>
                    <a:pt x="1259630" y="5913773"/>
                    <a:pt x="1628014" y="6308245"/>
                  </a:cubicBezTo>
                  <a:cubicBezTo>
                    <a:pt x="1812182" y="6505481"/>
                    <a:pt x="2016215" y="6685052"/>
                    <a:pt x="2235998" y="6844829"/>
                  </a:cubicBezTo>
                  <a:lnTo>
                    <a:pt x="2255028" y="6858000"/>
                  </a:lnTo>
                  <a:lnTo>
                    <a:pt x="1578787" y="6858000"/>
                  </a:lnTo>
                  <a:lnTo>
                    <a:pt x="1465153" y="6759050"/>
                  </a:lnTo>
                  <a:cubicBezTo>
                    <a:pt x="1410086" y="6708726"/>
                    <a:pt x="1356236" y="6657104"/>
                    <a:pt x="1303650" y="6604267"/>
                  </a:cubicBezTo>
                  <a:cubicBezTo>
                    <a:pt x="883506" y="6181043"/>
                    <a:pt x="548150" y="5676072"/>
                    <a:pt x="323708" y="5126365"/>
                  </a:cubicBezTo>
                  <a:cubicBezTo>
                    <a:pt x="97737" y="4577139"/>
                    <a:pt x="-10958" y="3981927"/>
                    <a:pt x="872" y="3391228"/>
                  </a:cubicBezTo>
                  <a:cubicBezTo>
                    <a:pt x="5951" y="3095783"/>
                    <a:pt x="40506" y="2800528"/>
                    <a:pt x="105428" y="2511899"/>
                  </a:cubicBezTo>
                  <a:cubicBezTo>
                    <a:pt x="170104" y="2223317"/>
                    <a:pt x="262089" y="1940399"/>
                    <a:pt x="384933" y="1670971"/>
                  </a:cubicBezTo>
                  <a:cubicBezTo>
                    <a:pt x="629092" y="1131344"/>
                    <a:pt x="991955" y="646919"/>
                    <a:pt x="1433593" y="256095"/>
                  </a:cubicBezTo>
                  <a:cubicBezTo>
                    <a:pt x="1488791" y="207206"/>
                    <a:pt x="1545179" y="159733"/>
                    <a:pt x="1602664" y="113704"/>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4" name="Freeform: Shape 13">
              <a:extLst>
                <a:ext uri="{FF2B5EF4-FFF2-40B4-BE49-F238E27FC236}">
                  <a16:creationId xmlns:a16="http://schemas.microsoft.com/office/drawing/2014/main" id="{308677BE-069B-4A4D-8732-E26B6EF5671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59468" y="3985"/>
              <a:ext cx="9065550" cy="6858000"/>
            </a:xfrm>
            <a:custGeom>
              <a:avLst/>
              <a:gdLst>
                <a:gd name="connsiteX0" fmla="*/ 1839951 w 9065550"/>
                <a:gd name="connsiteY0" fmla="*/ 0 h 6858000"/>
                <a:gd name="connsiteX1" fmla="*/ 6979427 w 9065550"/>
                <a:gd name="connsiteY1" fmla="*/ 0 h 6858000"/>
                <a:gd name="connsiteX2" fmla="*/ 6989586 w 9065550"/>
                <a:gd name="connsiteY2" fmla="*/ 6825 h 6858000"/>
                <a:gd name="connsiteX3" fmla="*/ 8932062 w 9065550"/>
                <a:gd name="connsiteY3" fmla="*/ 4580835 h 6858000"/>
                <a:gd name="connsiteX4" fmla="*/ 7166294 w 9065550"/>
                <a:gd name="connsiteY4" fmla="*/ 6259703 h 6858000"/>
                <a:gd name="connsiteX5" fmla="*/ 6868878 w 9065550"/>
                <a:gd name="connsiteY5" fmla="*/ 6564765 h 6858000"/>
                <a:gd name="connsiteX6" fmla="*/ 6591881 w 9065550"/>
                <a:gd name="connsiteY6" fmla="*/ 6858000 h 6858000"/>
                <a:gd name="connsiteX7" fmla="*/ 5184648 w 9065550"/>
                <a:gd name="connsiteY7" fmla="*/ 6858000 h 6858000"/>
                <a:gd name="connsiteX8" fmla="*/ 5244877 w 9065550"/>
                <a:gd name="connsiteY8" fmla="*/ 6817615 h 6858000"/>
                <a:gd name="connsiteX9" fmla="*/ 6033853 w 9065550"/>
                <a:gd name="connsiteY9" fmla="*/ 6069135 h 6858000"/>
                <a:gd name="connsiteX10" fmla="*/ 6480248 w 9065550"/>
                <a:gd name="connsiteY10" fmla="*/ 5607082 h 6858000"/>
                <a:gd name="connsiteX11" fmla="*/ 7551502 w 9065550"/>
                <a:gd name="connsiteY11" fmla="*/ 4859004 h 6858000"/>
                <a:gd name="connsiteX12" fmla="*/ 7844227 w 9065550"/>
                <a:gd name="connsiteY12" fmla="*/ 4683074 h 6858000"/>
                <a:gd name="connsiteX13" fmla="*/ 8005810 w 9065550"/>
                <a:gd name="connsiteY13" fmla="*/ 4330239 h 6858000"/>
                <a:gd name="connsiteX14" fmla="*/ 8016191 w 9065550"/>
                <a:gd name="connsiteY14" fmla="*/ 2956574 h 6858000"/>
                <a:gd name="connsiteX15" fmla="*/ 7346424 w 9065550"/>
                <a:gd name="connsiteY15" fmla="*/ 1636739 h 6858000"/>
                <a:gd name="connsiteX16" fmla="*/ 5995751 w 9065550"/>
                <a:gd name="connsiteY16" fmla="*/ 493319 h 6858000"/>
                <a:gd name="connsiteX17" fmla="*/ 4494836 w 9065550"/>
                <a:gd name="connsiteY17" fmla="*/ 75383 h 6858000"/>
                <a:gd name="connsiteX18" fmla="*/ 2002499 w 9065550"/>
                <a:gd name="connsiteY18" fmla="*/ 1094261 h 6858000"/>
                <a:gd name="connsiteX19" fmla="*/ 1241306 w 9065550"/>
                <a:gd name="connsiteY19" fmla="*/ 2206935 h 6858000"/>
                <a:gd name="connsiteX20" fmla="*/ 961736 w 9065550"/>
                <a:gd name="connsiteY20" fmla="*/ 3573719 h 6858000"/>
                <a:gd name="connsiteX21" fmla="*/ 1193878 w 9065550"/>
                <a:gd name="connsiteY21" fmla="*/ 4824208 h 6858000"/>
                <a:gd name="connsiteX22" fmla="*/ 1832096 w 9065550"/>
                <a:gd name="connsiteY22" fmla="*/ 5873050 h 6858000"/>
                <a:gd name="connsiteX23" fmla="*/ 3010752 w 9065550"/>
                <a:gd name="connsiteY23" fmla="*/ 6749475 h 6858000"/>
                <a:gd name="connsiteX24" fmla="*/ 3187037 w 9065550"/>
                <a:gd name="connsiteY24" fmla="*/ 6824756 h 6858000"/>
                <a:gd name="connsiteX25" fmla="*/ 3278211 w 9065550"/>
                <a:gd name="connsiteY25" fmla="*/ 6858000 h 6858000"/>
                <a:gd name="connsiteX26" fmla="*/ 1480830 w 9065550"/>
                <a:gd name="connsiteY26" fmla="*/ 6858000 h 6858000"/>
                <a:gd name="connsiteX27" fmla="*/ 1427607 w 9065550"/>
                <a:gd name="connsiteY27" fmla="*/ 6811515 h 6858000"/>
                <a:gd name="connsiteX28" fmla="*/ 1100739 w 9065550"/>
                <a:gd name="connsiteY28" fmla="*/ 6477651 h 6858000"/>
                <a:gd name="connsiteX29" fmla="*/ 0 w 9065550"/>
                <a:gd name="connsiteY29" fmla="*/ 3573620 h 6858000"/>
                <a:gd name="connsiteX30" fmla="*/ 1805513 w 9065550"/>
                <a:gd name="connsiteY30" fmla="*/ 241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65550" h="6858000">
                  <a:moveTo>
                    <a:pt x="1839951" y="0"/>
                  </a:moveTo>
                  <a:lnTo>
                    <a:pt x="6979427" y="0"/>
                  </a:lnTo>
                  <a:lnTo>
                    <a:pt x="6989586" y="6825"/>
                  </a:lnTo>
                  <a:cubicBezTo>
                    <a:pt x="8438828" y="1031353"/>
                    <a:pt x="9439169" y="2823601"/>
                    <a:pt x="8932062" y="4580835"/>
                  </a:cubicBezTo>
                  <a:cubicBezTo>
                    <a:pt x="8592517" y="5757293"/>
                    <a:pt x="7979652" y="5458140"/>
                    <a:pt x="7166294" y="6259703"/>
                  </a:cubicBezTo>
                  <a:cubicBezTo>
                    <a:pt x="7064618" y="6359905"/>
                    <a:pt x="6966014" y="6462297"/>
                    <a:pt x="6868878" y="6564765"/>
                  </a:cubicBezTo>
                  <a:lnTo>
                    <a:pt x="6591881" y="6858000"/>
                  </a:lnTo>
                  <a:lnTo>
                    <a:pt x="5184648" y="6858000"/>
                  </a:lnTo>
                  <a:lnTo>
                    <a:pt x="5244877" y="6817615"/>
                  </a:lnTo>
                  <a:cubicBezTo>
                    <a:pt x="5481027" y="6649287"/>
                    <a:pt x="5723665" y="6398593"/>
                    <a:pt x="6033853" y="6069135"/>
                  </a:cubicBezTo>
                  <a:cubicBezTo>
                    <a:pt x="6175680" y="5918484"/>
                    <a:pt x="6322395" y="5762660"/>
                    <a:pt x="6480248" y="5607082"/>
                  </a:cubicBezTo>
                  <a:cubicBezTo>
                    <a:pt x="6893276" y="5200077"/>
                    <a:pt x="7273697" y="5002920"/>
                    <a:pt x="7551502" y="4859004"/>
                  </a:cubicBezTo>
                  <a:cubicBezTo>
                    <a:pt x="7687884" y="4788339"/>
                    <a:pt x="7795540" y="4732559"/>
                    <a:pt x="7844227" y="4683074"/>
                  </a:cubicBezTo>
                  <a:cubicBezTo>
                    <a:pt x="7898759" y="4627636"/>
                    <a:pt x="7956165" y="4502313"/>
                    <a:pt x="8005810" y="4330239"/>
                  </a:cubicBezTo>
                  <a:cubicBezTo>
                    <a:pt x="8132968" y="3889611"/>
                    <a:pt x="8136446" y="3427460"/>
                    <a:pt x="8016191" y="2956574"/>
                  </a:cubicBezTo>
                  <a:cubicBezTo>
                    <a:pt x="7900876" y="2505064"/>
                    <a:pt x="7669287" y="2048671"/>
                    <a:pt x="7346424" y="1636739"/>
                  </a:cubicBezTo>
                  <a:cubicBezTo>
                    <a:pt x="6979764" y="1168830"/>
                    <a:pt x="6512706" y="773489"/>
                    <a:pt x="5995751" y="493319"/>
                  </a:cubicBezTo>
                  <a:cubicBezTo>
                    <a:pt x="5491195" y="219884"/>
                    <a:pt x="4972174" y="75383"/>
                    <a:pt x="4494836" y="75383"/>
                  </a:cubicBezTo>
                  <a:cubicBezTo>
                    <a:pt x="3554318" y="75383"/>
                    <a:pt x="2669191" y="437197"/>
                    <a:pt x="2002499" y="1094261"/>
                  </a:cubicBezTo>
                  <a:cubicBezTo>
                    <a:pt x="1676360" y="1415667"/>
                    <a:pt x="1420225" y="1790023"/>
                    <a:pt x="1241306" y="2206935"/>
                  </a:cubicBezTo>
                  <a:cubicBezTo>
                    <a:pt x="1055782" y="2639169"/>
                    <a:pt x="961736" y="3099027"/>
                    <a:pt x="961736" y="3573719"/>
                  </a:cubicBezTo>
                  <a:cubicBezTo>
                    <a:pt x="961736" y="4005124"/>
                    <a:pt x="1039805" y="4425841"/>
                    <a:pt x="1193878" y="4824208"/>
                  </a:cubicBezTo>
                  <a:cubicBezTo>
                    <a:pt x="1342457" y="5208423"/>
                    <a:pt x="1557214" y="5561306"/>
                    <a:pt x="1832096" y="5873050"/>
                  </a:cubicBezTo>
                  <a:cubicBezTo>
                    <a:pt x="2157126" y="6241599"/>
                    <a:pt x="2564661" y="6544656"/>
                    <a:pt x="3010752" y="6749475"/>
                  </a:cubicBezTo>
                  <a:cubicBezTo>
                    <a:pt x="3069003" y="6776219"/>
                    <a:pt x="3127773" y="6801314"/>
                    <a:pt x="3187037" y="6824756"/>
                  </a:cubicBezTo>
                  <a:lnTo>
                    <a:pt x="3278211" y="6858000"/>
                  </a:lnTo>
                  <a:lnTo>
                    <a:pt x="1480830" y="6858000"/>
                  </a:lnTo>
                  <a:lnTo>
                    <a:pt x="1427607" y="6811515"/>
                  </a:lnTo>
                  <a:cubicBezTo>
                    <a:pt x="1312870" y="6705919"/>
                    <a:pt x="1203751" y="6594470"/>
                    <a:pt x="1100739" y="6477651"/>
                  </a:cubicBezTo>
                  <a:cubicBezTo>
                    <a:pt x="415045" y="5700097"/>
                    <a:pt x="0" y="4684635"/>
                    <a:pt x="0" y="3573620"/>
                  </a:cubicBezTo>
                  <a:cubicBezTo>
                    <a:pt x="0" y="2121118"/>
                    <a:pt x="709459" y="831902"/>
                    <a:pt x="1805513" y="24133"/>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Shape 14">
              <a:extLst>
                <a:ext uri="{FF2B5EF4-FFF2-40B4-BE49-F238E27FC236}">
                  <a16:creationId xmlns:a16="http://schemas.microsoft.com/office/drawing/2014/main" id="{9A9A575B-DD07-4388-963B-0AF3FDDCF3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48217" y="3985"/>
              <a:ext cx="9088051" cy="6858000"/>
            </a:xfrm>
            <a:custGeom>
              <a:avLst/>
              <a:gdLst>
                <a:gd name="connsiteX0" fmla="*/ 5158786 w 9088051"/>
                <a:gd name="connsiteY0" fmla="*/ 0 h 6858000"/>
                <a:gd name="connsiteX1" fmla="*/ 6996771 w 9088051"/>
                <a:gd name="connsiteY1" fmla="*/ 0 h 6858000"/>
                <a:gd name="connsiteX2" fmla="*/ 7006955 w 9088051"/>
                <a:gd name="connsiteY2" fmla="*/ 6825 h 6858000"/>
                <a:gd name="connsiteX3" fmla="*/ 8954230 w 9088051"/>
                <a:gd name="connsiteY3" fmla="*/ 4580835 h 6858000"/>
                <a:gd name="connsiteX4" fmla="*/ 7184080 w 9088051"/>
                <a:gd name="connsiteY4" fmla="*/ 6259703 h 6858000"/>
                <a:gd name="connsiteX5" fmla="*/ 6885926 w 9088051"/>
                <a:gd name="connsiteY5" fmla="*/ 6564765 h 6858000"/>
                <a:gd name="connsiteX6" fmla="*/ 6608241 w 9088051"/>
                <a:gd name="connsiteY6" fmla="*/ 6858000 h 6858000"/>
                <a:gd name="connsiteX7" fmla="*/ 5462870 w 9088051"/>
                <a:gd name="connsiteY7" fmla="*/ 6858000 h 6858000"/>
                <a:gd name="connsiteX8" fmla="*/ 5529056 w 9088051"/>
                <a:gd name="connsiteY8" fmla="*/ 6804645 h 6858000"/>
                <a:gd name="connsiteX9" fmla="*/ 6167613 w 9088051"/>
                <a:gd name="connsiteY9" fmla="*/ 6173667 h 6858000"/>
                <a:gd name="connsiteX10" fmla="*/ 6610973 w 9088051"/>
                <a:gd name="connsiteY10" fmla="*/ 5715860 h 6858000"/>
                <a:gd name="connsiteX11" fmla="*/ 7646083 w 9088051"/>
                <a:gd name="connsiteY11" fmla="*/ 4995842 h 6858000"/>
                <a:gd name="connsiteX12" fmla="*/ 7980054 w 9088051"/>
                <a:gd name="connsiteY12" fmla="*/ 4790095 h 6858000"/>
                <a:gd name="connsiteX13" fmla="*/ 8180437 w 9088051"/>
                <a:gd name="connsiteY13" fmla="*/ 4371964 h 6858000"/>
                <a:gd name="connsiteX14" fmla="*/ 8192058 w 9088051"/>
                <a:gd name="connsiteY14" fmla="*/ 2919242 h 6858000"/>
                <a:gd name="connsiteX15" fmla="*/ 7492638 w 9088051"/>
                <a:gd name="connsiteY15" fmla="*/ 1542845 h 6858000"/>
                <a:gd name="connsiteX16" fmla="*/ 6089097 w 9088051"/>
                <a:gd name="connsiteY16" fmla="*/ 357847 h 6858000"/>
                <a:gd name="connsiteX17" fmla="*/ 5288639 w 9088051"/>
                <a:gd name="connsiteY17" fmla="*/ 31627 h 6858000"/>
                <a:gd name="connsiteX18" fmla="*/ 1844517 w 9088051"/>
                <a:gd name="connsiteY18" fmla="*/ 0 h 6858000"/>
                <a:gd name="connsiteX19" fmla="*/ 3734467 w 9088051"/>
                <a:gd name="connsiteY19" fmla="*/ 0 h 6858000"/>
                <a:gd name="connsiteX20" fmla="*/ 3603618 w 9088051"/>
                <a:gd name="connsiteY20" fmla="*/ 28853 h 6858000"/>
                <a:gd name="connsiteX21" fmla="*/ 1892878 w 9088051"/>
                <a:gd name="connsiteY21" fmla="*/ 985434 h 6858000"/>
                <a:gd name="connsiteX22" fmla="*/ 1096045 w 9088051"/>
                <a:gd name="connsiteY22" fmla="*/ 2147349 h 6858000"/>
                <a:gd name="connsiteX23" fmla="*/ 803453 w 9088051"/>
                <a:gd name="connsiteY23" fmla="*/ 3573669 h 6858000"/>
                <a:gd name="connsiteX24" fmla="*/ 1046377 w 9088051"/>
                <a:gd name="connsiteY24" fmla="*/ 4878573 h 6858000"/>
                <a:gd name="connsiteX25" fmla="*/ 1714473 w 9088051"/>
                <a:gd name="connsiteY25" fmla="*/ 5973776 h 6858000"/>
                <a:gd name="connsiteX26" fmla="*/ 2776083 w 9088051"/>
                <a:gd name="connsiteY26" fmla="*/ 6804641 h 6858000"/>
                <a:gd name="connsiteX27" fmla="*/ 2884836 w 9088051"/>
                <a:gd name="connsiteY27" fmla="*/ 6858000 h 6858000"/>
                <a:gd name="connsiteX28" fmla="*/ 1484505 w 9088051"/>
                <a:gd name="connsiteY28" fmla="*/ 6858000 h 6858000"/>
                <a:gd name="connsiteX29" fmla="*/ 1431151 w 9088051"/>
                <a:gd name="connsiteY29" fmla="*/ 6811515 h 6858000"/>
                <a:gd name="connsiteX30" fmla="*/ 1103471 w 9088051"/>
                <a:gd name="connsiteY30" fmla="*/ 6477651 h 6858000"/>
                <a:gd name="connsiteX31" fmla="*/ 0 w 9088051"/>
                <a:gd name="connsiteY31" fmla="*/ 3573620 h 6858000"/>
                <a:gd name="connsiteX32" fmla="*/ 1809994 w 9088051"/>
                <a:gd name="connsiteY32" fmla="*/ 241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088051" h="6858000">
                  <a:moveTo>
                    <a:pt x="5158786" y="0"/>
                  </a:moveTo>
                  <a:lnTo>
                    <a:pt x="6996771" y="0"/>
                  </a:lnTo>
                  <a:lnTo>
                    <a:pt x="7006955" y="6825"/>
                  </a:lnTo>
                  <a:cubicBezTo>
                    <a:pt x="8459794" y="1031353"/>
                    <a:pt x="9462596" y="2823601"/>
                    <a:pt x="8954230" y="4580835"/>
                  </a:cubicBezTo>
                  <a:cubicBezTo>
                    <a:pt x="8613842" y="5757293"/>
                    <a:pt x="7999457" y="5458140"/>
                    <a:pt x="7184080" y="6259703"/>
                  </a:cubicBezTo>
                  <a:cubicBezTo>
                    <a:pt x="7082152" y="6359905"/>
                    <a:pt x="6983303" y="6462297"/>
                    <a:pt x="6885926" y="6564765"/>
                  </a:cubicBezTo>
                  <a:lnTo>
                    <a:pt x="6608241" y="6858000"/>
                  </a:lnTo>
                  <a:lnTo>
                    <a:pt x="5462870" y="6858000"/>
                  </a:lnTo>
                  <a:lnTo>
                    <a:pt x="5529056" y="6804645"/>
                  </a:lnTo>
                  <a:cubicBezTo>
                    <a:pt x="5740217" y="6626505"/>
                    <a:pt x="5949382" y="6404876"/>
                    <a:pt x="6167613" y="6173667"/>
                  </a:cubicBezTo>
                  <a:cubicBezTo>
                    <a:pt x="6308782" y="6024091"/>
                    <a:pt x="6454799" y="5869390"/>
                    <a:pt x="6610973" y="5715860"/>
                  </a:cubicBezTo>
                  <a:cubicBezTo>
                    <a:pt x="7007847" y="5325741"/>
                    <a:pt x="7376733" y="5135074"/>
                    <a:pt x="7646083" y="4995842"/>
                  </a:cubicBezTo>
                  <a:cubicBezTo>
                    <a:pt x="7816858" y="4907561"/>
                    <a:pt x="7916545" y="4854514"/>
                    <a:pt x="7980054" y="4790095"/>
                  </a:cubicBezTo>
                  <a:cubicBezTo>
                    <a:pt x="8054629" y="4714405"/>
                    <a:pt x="8122031" y="4573758"/>
                    <a:pt x="8180437" y="4371964"/>
                  </a:cubicBezTo>
                  <a:cubicBezTo>
                    <a:pt x="8315441" y="3905228"/>
                    <a:pt x="8319381" y="3416431"/>
                    <a:pt x="8192058" y="2919242"/>
                  </a:cubicBezTo>
                  <a:cubicBezTo>
                    <a:pt x="8071251" y="2447381"/>
                    <a:pt x="7829388" y="1971467"/>
                    <a:pt x="7492638" y="1542845"/>
                  </a:cubicBezTo>
                  <a:cubicBezTo>
                    <a:pt x="7111829" y="1058099"/>
                    <a:pt x="6626484" y="648361"/>
                    <a:pt x="6089097" y="357847"/>
                  </a:cubicBezTo>
                  <a:cubicBezTo>
                    <a:pt x="5824244" y="214687"/>
                    <a:pt x="5554957" y="105262"/>
                    <a:pt x="5288639" y="31627"/>
                  </a:cubicBezTo>
                  <a:close/>
                  <a:moveTo>
                    <a:pt x="1844517" y="0"/>
                  </a:moveTo>
                  <a:lnTo>
                    <a:pt x="3734467" y="0"/>
                  </a:lnTo>
                  <a:lnTo>
                    <a:pt x="3603618" y="28853"/>
                  </a:lnTo>
                  <a:cubicBezTo>
                    <a:pt x="2962049" y="186733"/>
                    <a:pt x="2373277" y="513136"/>
                    <a:pt x="1892878" y="985434"/>
                  </a:cubicBezTo>
                  <a:cubicBezTo>
                    <a:pt x="1551428" y="1321091"/>
                    <a:pt x="1283341" y="1711990"/>
                    <a:pt x="1096045" y="2147349"/>
                  </a:cubicBezTo>
                  <a:cubicBezTo>
                    <a:pt x="901876" y="2598519"/>
                    <a:pt x="803453" y="3078432"/>
                    <a:pt x="803453" y="3573669"/>
                  </a:cubicBezTo>
                  <a:cubicBezTo>
                    <a:pt x="803453" y="4023717"/>
                    <a:pt x="885151" y="4462735"/>
                    <a:pt x="1046377" y="4878573"/>
                  </a:cubicBezTo>
                  <a:cubicBezTo>
                    <a:pt x="1201945" y="5279770"/>
                    <a:pt x="1426681" y="5648221"/>
                    <a:pt x="1714473" y="5973776"/>
                  </a:cubicBezTo>
                  <a:cubicBezTo>
                    <a:pt x="2012357" y="6310732"/>
                    <a:pt x="2376505" y="6595304"/>
                    <a:pt x="2776083" y="6804641"/>
                  </a:cubicBezTo>
                  <a:lnTo>
                    <a:pt x="2884836" y="6858000"/>
                  </a:lnTo>
                  <a:lnTo>
                    <a:pt x="1484505" y="6858000"/>
                  </a:lnTo>
                  <a:lnTo>
                    <a:pt x="1431151" y="6811515"/>
                  </a:lnTo>
                  <a:cubicBezTo>
                    <a:pt x="1316128" y="6705919"/>
                    <a:pt x="1206738" y="6594470"/>
                    <a:pt x="1103471" y="6477651"/>
                  </a:cubicBezTo>
                  <a:cubicBezTo>
                    <a:pt x="416075" y="5700097"/>
                    <a:pt x="0" y="4684635"/>
                    <a:pt x="0" y="3573620"/>
                  </a:cubicBezTo>
                  <a:cubicBezTo>
                    <a:pt x="0" y="2121118"/>
                    <a:pt x="711220" y="831902"/>
                    <a:pt x="1809994" y="24133"/>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Freeform: Shape 15">
              <a:extLst>
                <a:ext uri="{FF2B5EF4-FFF2-40B4-BE49-F238E27FC236}">
                  <a16:creationId xmlns:a16="http://schemas.microsoft.com/office/drawing/2014/main" id="{D55285E4-21EB-4EC1-AB8E-36E881E899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29061" y="3985"/>
              <a:ext cx="9107210" cy="6858000"/>
            </a:xfrm>
            <a:custGeom>
              <a:avLst/>
              <a:gdLst>
                <a:gd name="connsiteX0" fmla="*/ 6184722 w 9107210"/>
                <a:gd name="connsiteY0" fmla="*/ 0 h 6858000"/>
                <a:gd name="connsiteX1" fmla="*/ 6985680 w 9107210"/>
                <a:gd name="connsiteY1" fmla="*/ 0 h 6858000"/>
                <a:gd name="connsiteX2" fmla="*/ 7324323 w 9107210"/>
                <a:gd name="connsiteY2" fmla="*/ 247136 h 6858000"/>
                <a:gd name="connsiteX3" fmla="*/ 7652712 w 9107210"/>
                <a:gd name="connsiteY3" fmla="*/ 528495 h 6858000"/>
                <a:gd name="connsiteX4" fmla="*/ 8236677 w 9107210"/>
                <a:gd name="connsiteY4" fmla="*/ 1166289 h 6858000"/>
                <a:gd name="connsiteX5" fmla="*/ 8704298 w 9107210"/>
                <a:gd name="connsiteY5" fmla="*/ 1897038 h 6858000"/>
                <a:gd name="connsiteX6" fmla="*/ 8885160 w 9107210"/>
                <a:gd name="connsiteY6" fmla="*/ 2294087 h 6858000"/>
                <a:gd name="connsiteX7" fmla="*/ 8924247 w 9107210"/>
                <a:gd name="connsiteY7" fmla="*/ 2396286 h 6858000"/>
                <a:gd name="connsiteX8" fmla="*/ 8960022 w 9107210"/>
                <a:gd name="connsiteY8" fmla="*/ 2499767 h 6858000"/>
                <a:gd name="connsiteX9" fmla="*/ 8991720 w 9107210"/>
                <a:gd name="connsiteY9" fmla="*/ 2604671 h 6858000"/>
                <a:gd name="connsiteX10" fmla="*/ 9019646 w 9107210"/>
                <a:gd name="connsiteY10" fmla="*/ 2710708 h 6858000"/>
                <a:gd name="connsiteX11" fmla="*/ 9105822 w 9107210"/>
                <a:gd name="connsiteY11" fmla="*/ 3582266 h 6858000"/>
                <a:gd name="connsiteX12" fmla="*/ 9057716 w 9107210"/>
                <a:gd name="connsiteY12" fmla="*/ 4017873 h 6858000"/>
                <a:gd name="connsiteX13" fmla="*/ 8945600 w 9107210"/>
                <a:gd name="connsiteY13" fmla="*/ 4439659 h 6858000"/>
                <a:gd name="connsiteX14" fmla="*/ 8796080 w 9107210"/>
                <a:gd name="connsiteY14" fmla="*/ 4847428 h 6858000"/>
                <a:gd name="connsiteX15" fmla="*/ 8702056 w 9107210"/>
                <a:gd name="connsiteY15" fmla="*/ 5050108 h 6858000"/>
                <a:gd name="connsiteX16" fmla="*/ 8581125 w 9107210"/>
                <a:gd name="connsiteY16" fmla="*/ 5247525 h 6858000"/>
                <a:gd name="connsiteX17" fmla="*/ 8426254 w 9107210"/>
                <a:gd name="connsiteY17" fmla="*/ 5429647 h 6858000"/>
                <a:gd name="connsiteX18" fmla="*/ 8337174 w 9107210"/>
                <a:gd name="connsiteY18" fmla="*/ 5510552 h 6858000"/>
                <a:gd name="connsiteX19" fmla="*/ 8243200 w 9107210"/>
                <a:gd name="connsiteY19" fmla="*/ 5582948 h 6858000"/>
                <a:gd name="connsiteX20" fmla="*/ 7868330 w 9107210"/>
                <a:gd name="connsiteY20" fmla="*/ 5811104 h 6858000"/>
                <a:gd name="connsiteX21" fmla="*/ 7538916 w 9107210"/>
                <a:gd name="connsiteY21" fmla="*/ 6018899 h 6858000"/>
                <a:gd name="connsiteX22" fmla="*/ 7391280 w 9107210"/>
                <a:gd name="connsiteY22" fmla="*/ 6134132 h 6858000"/>
                <a:gd name="connsiteX23" fmla="*/ 7252511 w 9107210"/>
                <a:gd name="connsiteY23" fmla="*/ 6259105 h 6858000"/>
                <a:gd name="connsiteX24" fmla="*/ 7185601 w 9107210"/>
                <a:gd name="connsiteY24" fmla="*/ 6325894 h 6858000"/>
                <a:gd name="connsiteX25" fmla="*/ 7116651 w 9107210"/>
                <a:gd name="connsiteY25" fmla="*/ 6397010 h 6858000"/>
                <a:gd name="connsiteX26" fmla="*/ 6978545 w 9107210"/>
                <a:gd name="connsiteY26" fmla="*/ 6541607 h 6858000"/>
                <a:gd name="connsiteX27" fmla="*/ 6693009 w 9107210"/>
                <a:gd name="connsiteY27" fmla="*/ 6832716 h 6858000"/>
                <a:gd name="connsiteX28" fmla="*/ 6667488 w 9107210"/>
                <a:gd name="connsiteY28" fmla="*/ 6858000 h 6858000"/>
                <a:gd name="connsiteX29" fmla="*/ 6056793 w 9107210"/>
                <a:gd name="connsiteY29" fmla="*/ 6858000 h 6858000"/>
                <a:gd name="connsiteX30" fmla="*/ 6077345 w 9107210"/>
                <a:gd name="connsiteY30" fmla="*/ 6835420 h 6858000"/>
                <a:gd name="connsiteX31" fmla="*/ 6208519 w 9107210"/>
                <a:gd name="connsiteY31" fmla="*/ 6683989 h 6858000"/>
                <a:gd name="connsiteX32" fmla="*/ 6340001 w 9107210"/>
                <a:gd name="connsiteY32" fmla="*/ 6529852 h 6858000"/>
                <a:gd name="connsiteX33" fmla="*/ 6611419 w 9107210"/>
                <a:gd name="connsiteY33" fmla="*/ 6219317 h 6858000"/>
                <a:gd name="connsiteX34" fmla="*/ 6757678 w 9107210"/>
                <a:gd name="connsiteY34" fmla="*/ 6068228 h 6858000"/>
                <a:gd name="connsiteX35" fmla="*/ 6833713 w 9107210"/>
                <a:gd name="connsiteY35" fmla="*/ 5994061 h 6858000"/>
                <a:gd name="connsiteX36" fmla="*/ 6915148 w 9107210"/>
                <a:gd name="connsiteY36" fmla="*/ 5918812 h 6858000"/>
                <a:gd name="connsiteX37" fmla="*/ 7276311 w 9107210"/>
                <a:gd name="connsiteY37" fmla="*/ 5650229 h 6858000"/>
                <a:gd name="connsiteX38" fmla="*/ 7664942 w 9107210"/>
                <a:gd name="connsiteY38" fmla="*/ 5445681 h 6858000"/>
                <a:gd name="connsiteX39" fmla="*/ 7848505 w 9107210"/>
                <a:gd name="connsiteY39" fmla="*/ 5358333 h 6858000"/>
                <a:gd name="connsiteX40" fmla="*/ 8011785 w 9107210"/>
                <a:gd name="connsiteY40" fmla="*/ 5267788 h 6858000"/>
                <a:gd name="connsiteX41" fmla="*/ 8260273 w 9107210"/>
                <a:gd name="connsiteY41" fmla="*/ 5034370 h 6858000"/>
                <a:gd name="connsiteX42" fmla="*/ 8417589 w 9107210"/>
                <a:gd name="connsiteY42" fmla="*/ 4714488 h 6858000"/>
                <a:gd name="connsiteX43" fmla="*/ 8495000 w 9107210"/>
                <a:gd name="connsiteY43" fmla="*/ 4346409 h 6858000"/>
                <a:gd name="connsiteX44" fmla="*/ 8508556 w 9107210"/>
                <a:gd name="connsiteY44" fmla="*/ 3971101 h 6858000"/>
                <a:gd name="connsiteX45" fmla="*/ 8483330 w 9107210"/>
                <a:gd name="connsiteY45" fmla="*/ 3600710 h 6858000"/>
                <a:gd name="connsiteX46" fmla="*/ 8425336 w 9107210"/>
                <a:gd name="connsiteY46" fmla="*/ 3236121 h 6858000"/>
                <a:gd name="connsiteX47" fmla="*/ 8334575 w 9107210"/>
                <a:gd name="connsiteY47" fmla="*/ 2877977 h 6858000"/>
                <a:gd name="connsiteX48" fmla="*/ 8087513 w 9107210"/>
                <a:gd name="connsiteY48" fmla="*/ 2174622 h 6858000"/>
                <a:gd name="connsiteX49" fmla="*/ 7723650 w 9107210"/>
                <a:gd name="connsiteY49" fmla="*/ 1507613 h 6858000"/>
                <a:gd name="connsiteX50" fmla="*/ 7501815 w 9107210"/>
                <a:gd name="connsiteY50" fmla="*/ 1192947 h 6858000"/>
                <a:gd name="connsiteX51" fmla="*/ 7254399 w 9107210"/>
                <a:gd name="connsiteY51" fmla="*/ 894361 h 6858000"/>
                <a:gd name="connsiteX52" fmla="*/ 6689339 w 9107210"/>
                <a:gd name="connsiteY52" fmla="*/ 354046 h 6858000"/>
                <a:gd name="connsiteX53" fmla="*/ 6206651 w 9107210"/>
                <a:gd name="connsiteY53" fmla="*/ 12626 h 6858000"/>
                <a:gd name="connsiteX54" fmla="*/ 1827105 w 9107210"/>
                <a:gd name="connsiteY54" fmla="*/ 0 h 6858000"/>
                <a:gd name="connsiteX55" fmla="*/ 2807607 w 9107210"/>
                <a:gd name="connsiteY55" fmla="*/ 0 h 6858000"/>
                <a:gd name="connsiteX56" fmla="*/ 2667958 w 9107210"/>
                <a:gd name="connsiteY56" fmla="*/ 88235 h 6858000"/>
                <a:gd name="connsiteX57" fmla="*/ 2354723 w 9107210"/>
                <a:gd name="connsiteY57" fmla="*/ 314947 h 6858000"/>
                <a:gd name="connsiteX58" fmla="*/ 2059963 w 9107210"/>
                <a:gd name="connsiteY58" fmla="*/ 561545 h 6858000"/>
                <a:gd name="connsiteX59" fmla="*/ 1780798 w 9107210"/>
                <a:gd name="connsiteY59" fmla="*/ 824425 h 6858000"/>
                <a:gd name="connsiteX60" fmla="*/ 954714 w 9107210"/>
                <a:gd name="connsiteY60" fmla="*/ 2094309 h 6858000"/>
                <a:gd name="connsiteX61" fmla="*/ 732676 w 9107210"/>
                <a:gd name="connsiteY61" fmla="*/ 2813646 h 6858000"/>
                <a:gd name="connsiteX62" fmla="*/ 673867 w 9107210"/>
                <a:gd name="connsiteY62" fmla="*/ 3183989 h 6858000"/>
                <a:gd name="connsiteX63" fmla="*/ 647621 w 9107210"/>
                <a:gd name="connsiteY63" fmla="*/ 3557281 h 6858000"/>
                <a:gd name="connsiteX64" fmla="*/ 653381 w 9107210"/>
                <a:gd name="connsiteY64" fmla="*/ 3931214 h 6858000"/>
                <a:gd name="connsiteX65" fmla="*/ 690428 w 9107210"/>
                <a:gd name="connsiteY65" fmla="*/ 4303719 h 6858000"/>
                <a:gd name="connsiteX66" fmla="*/ 871801 w 9107210"/>
                <a:gd name="connsiteY66" fmla="*/ 5033041 h 6858000"/>
                <a:gd name="connsiteX67" fmla="*/ 1197749 w 9107210"/>
                <a:gd name="connsiteY67" fmla="*/ 5718494 h 6858000"/>
                <a:gd name="connsiteX68" fmla="*/ 1411480 w 9107210"/>
                <a:gd name="connsiteY68" fmla="*/ 6036703 h 6858000"/>
                <a:gd name="connsiteX69" fmla="*/ 1530170 w 9107210"/>
                <a:gd name="connsiteY69" fmla="*/ 6188430 h 6858000"/>
                <a:gd name="connsiteX70" fmla="*/ 1657165 w 9107210"/>
                <a:gd name="connsiteY70" fmla="*/ 6335385 h 6858000"/>
                <a:gd name="connsiteX71" fmla="*/ 1931343 w 9107210"/>
                <a:gd name="connsiteY71" fmla="*/ 6612896 h 6858000"/>
                <a:gd name="connsiteX72" fmla="*/ 2220133 w 9107210"/>
                <a:gd name="connsiteY72" fmla="*/ 6858000 h 6858000"/>
                <a:gd name="connsiteX73" fmla="*/ 1539862 w 9107210"/>
                <a:gd name="connsiteY73" fmla="*/ 6858000 h 6858000"/>
                <a:gd name="connsiteX74" fmla="*/ 1307111 w 9107210"/>
                <a:gd name="connsiteY74" fmla="*/ 6648873 h 6858000"/>
                <a:gd name="connsiteX75" fmla="*/ 750258 w 9107210"/>
                <a:gd name="connsiteY75" fmla="*/ 5987570 h 6858000"/>
                <a:gd name="connsiteX76" fmla="*/ 335382 w 9107210"/>
                <a:gd name="connsiteY76" fmla="*/ 5229279 h 6858000"/>
                <a:gd name="connsiteX77" fmla="*/ 79351 w 9107210"/>
                <a:gd name="connsiteY77" fmla="*/ 4403854 h 6858000"/>
                <a:gd name="connsiteX78" fmla="*/ 16007 w 9107210"/>
                <a:gd name="connsiteY78" fmla="*/ 3975723 h 6858000"/>
                <a:gd name="connsiteX79" fmla="*/ 871 w 9107210"/>
                <a:gd name="connsiteY79" fmla="*/ 3543362 h 6858000"/>
                <a:gd name="connsiteX80" fmla="*/ 32519 w 9107210"/>
                <a:gd name="connsiteY80" fmla="*/ 3112085 h 6858000"/>
                <a:gd name="connsiteX81" fmla="*/ 108502 w 9107210"/>
                <a:gd name="connsiteY81" fmla="*/ 2686511 h 6858000"/>
                <a:gd name="connsiteX82" fmla="*/ 378239 w 9107210"/>
                <a:gd name="connsiteY82" fmla="*/ 1865955 h 6858000"/>
                <a:gd name="connsiteX83" fmla="*/ 1343701 w 9107210"/>
                <a:gd name="connsiteY83" fmla="*/ 431508 h 6858000"/>
                <a:gd name="connsiteX84" fmla="*/ 1661853 w 9107210"/>
                <a:gd name="connsiteY84" fmla="*/ 1302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107210" h="6858000">
                  <a:moveTo>
                    <a:pt x="6184722" y="0"/>
                  </a:moveTo>
                  <a:lnTo>
                    <a:pt x="6985680" y="0"/>
                  </a:lnTo>
                  <a:lnTo>
                    <a:pt x="7324323" y="247136"/>
                  </a:lnTo>
                  <a:cubicBezTo>
                    <a:pt x="7437502" y="336500"/>
                    <a:pt x="7547171" y="430254"/>
                    <a:pt x="7652712" y="528495"/>
                  </a:cubicBezTo>
                  <a:cubicBezTo>
                    <a:pt x="7863743" y="724929"/>
                    <a:pt x="8060097" y="937593"/>
                    <a:pt x="8236677" y="1166289"/>
                  </a:cubicBezTo>
                  <a:cubicBezTo>
                    <a:pt x="8413818" y="1394594"/>
                    <a:pt x="8570168" y="1639471"/>
                    <a:pt x="8704298" y="1897038"/>
                  </a:cubicBezTo>
                  <a:cubicBezTo>
                    <a:pt x="8770803" y="2026141"/>
                    <a:pt x="8830836" y="2158786"/>
                    <a:pt x="8885160" y="2294087"/>
                  </a:cubicBezTo>
                  <a:cubicBezTo>
                    <a:pt x="8898360" y="2328071"/>
                    <a:pt x="8912169" y="2361810"/>
                    <a:pt x="8924247" y="2396286"/>
                  </a:cubicBezTo>
                  <a:lnTo>
                    <a:pt x="8960022" y="2499767"/>
                  </a:lnTo>
                  <a:lnTo>
                    <a:pt x="8991720" y="2604671"/>
                  </a:lnTo>
                  <a:cubicBezTo>
                    <a:pt x="9002116" y="2639690"/>
                    <a:pt x="9010474" y="2675346"/>
                    <a:pt x="9019646" y="2710708"/>
                  </a:cubicBezTo>
                  <a:cubicBezTo>
                    <a:pt x="9089055" y="2995079"/>
                    <a:pt x="9113620" y="3289927"/>
                    <a:pt x="9105822" y="3582266"/>
                  </a:cubicBezTo>
                  <a:cubicBezTo>
                    <a:pt x="9101796" y="3728484"/>
                    <a:pt x="9085744" y="3874458"/>
                    <a:pt x="9057716" y="4017873"/>
                  </a:cubicBezTo>
                  <a:cubicBezTo>
                    <a:pt x="9029534" y="4161336"/>
                    <a:pt x="8990497" y="4302046"/>
                    <a:pt x="8945600" y="4439659"/>
                  </a:cubicBezTo>
                  <a:cubicBezTo>
                    <a:pt x="8900857" y="4577566"/>
                    <a:pt x="8852901" y="4711784"/>
                    <a:pt x="8796080" y="4847428"/>
                  </a:cubicBezTo>
                  <a:cubicBezTo>
                    <a:pt x="8767695" y="4915152"/>
                    <a:pt x="8737016" y="4982926"/>
                    <a:pt x="8702056" y="5050108"/>
                  </a:cubicBezTo>
                  <a:cubicBezTo>
                    <a:pt x="8666485" y="5116997"/>
                    <a:pt x="8627347" y="5183687"/>
                    <a:pt x="8581125" y="5247525"/>
                  </a:cubicBezTo>
                  <a:cubicBezTo>
                    <a:pt x="8535565" y="5311660"/>
                    <a:pt x="8483534" y="5373185"/>
                    <a:pt x="8426254" y="5429647"/>
                  </a:cubicBezTo>
                  <a:cubicBezTo>
                    <a:pt x="8397512" y="5457779"/>
                    <a:pt x="8367801" y="5484879"/>
                    <a:pt x="8337174" y="5510552"/>
                  </a:cubicBezTo>
                  <a:cubicBezTo>
                    <a:pt x="8306444" y="5536077"/>
                    <a:pt x="8274899" y="5560029"/>
                    <a:pt x="8243200" y="5582948"/>
                  </a:cubicBezTo>
                  <a:cubicBezTo>
                    <a:pt x="8115543" y="5674574"/>
                    <a:pt x="7986203" y="5743233"/>
                    <a:pt x="7868330" y="5811104"/>
                  </a:cubicBezTo>
                  <a:cubicBezTo>
                    <a:pt x="7749844" y="5878385"/>
                    <a:pt x="7640685" y="5945126"/>
                    <a:pt x="7538916" y="6018899"/>
                  </a:cubicBezTo>
                  <a:cubicBezTo>
                    <a:pt x="7487749" y="6055392"/>
                    <a:pt x="7438777" y="6093950"/>
                    <a:pt x="7391280" y="6134132"/>
                  </a:cubicBezTo>
                  <a:cubicBezTo>
                    <a:pt x="7343427" y="6173921"/>
                    <a:pt x="7297511" y="6215922"/>
                    <a:pt x="7252511" y="6259105"/>
                  </a:cubicBezTo>
                  <a:cubicBezTo>
                    <a:pt x="7229784" y="6280990"/>
                    <a:pt x="7208635" y="6302433"/>
                    <a:pt x="7185601" y="6325894"/>
                  </a:cubicBezTo>
                  <a:lnTo>
                    <a:pt x="7116651" y="6397010"/>
                  </a:lnTo>
                  <a:lnTo>
                    <a:pt x="6978545" y="6541607"/>
                  </a:lnTo>
                  <a:cubicBezTo>
                    <a:pt x="6885693" y="6638397"/>
                    <a:pt x="6789885" y="6734943"/>
                    <a:pt x="6693009" y="6832716"/>
                  </a:cubicBezTo>
                  <a:lnTo>
                    <a:pt x="6667488" y="6858000"/>
                  </a:lnTo>
                  <a:lnTo>
                    <a:pt x="6056793" y="6858000"/>
                  </a:lnTo>
                  <a:lnTo>
                    <a:pt x="6077345" y="6835420"/>
                  </a:lnTo>
                  <a:cubicBezTo>
                    <a:pt x="6121427" y="6785747"/>
                    <a:pt x="6164948" y="6735090"/>
                    <a:pt x="6208519" y="6683989"/>
                  </a:cubicBezTo>
                  <a:lnTo>
                    <a:pt x="6340001" y="6529852"/>
                  </a:lnTo>
                  <a:cubicBezTo>
                    <a:pt x="6428315" y="6426667"/>
                    <a:pt x="6516733" y="6321417"/>
                    <a:pt x="6611419" y="6219317"/>
                  </a:cubicBezTo>
                  <a:cubicBezTo>
                    <a:pt x="6658864" y="6168363"/>
                    <a:pt x="6707584" y="6117950"/>
                    <a:pt x="6757678" y="6068228"/>
                  </a:cubicBezTo>
                  <a:lnTo>
                    <a:pt x="6833713" y="5994061"/>
                  </a:lnTo>
                  <a:cubicBezTo>
                    <a:pt x="6859346" y="5969422"/>
                    <a:pt x="6887579" y="5943404"/>
                    <a:pt x="6915148" y="5918812"/>
                  </a:cubicBezTo>
                  <a:cubicBezTo>
                    <a:pt x="7026295" y="5819219"/>
                    <a:pt x="7148602" y="5729117"/>
                    <a:pt x="7276311" y="5650229"/>
                  </a:cubicBezTo>
                  <a:cubicBezTo>
                    <a:pt x="7403918" y="5571046"/>
                    <a:pt x="7537794" y="5505190"/>
                    <a:pt x="7664942" y="5445681"/>
                  </a:cubicBezTo>
                  <a:cubicBezTo>
                    <a:pt x="7728491" y="5416024"/>
                    <a:pt x="7790410" y="5387449"/>
                    <a:pt x="7848505" y="5358333"/>
                  </a:cubicBezTo>
                  <a:cubicBezTo>
                    <a:pt x="7906805" y="5329315"/>
                    <a:pt x="7961843" y="5300101"/>
                    <a:pt x="8011785" y="5267788"/>
                  </a:cubicBezTo>
                  <a:cubicBezTo>
                    <a:pt x="8112281" y="5203950"/>
                    <a:pt x="8193615" y="5128111"/>
                    <a:pt x="8260273" y="5034370"/>
                  </a:cubicBezTo>
                  <a:cubicBezTo>
                    <a:pt x="8326370" y="4940776"/>
                    <a:pt x="8378657" y="4831640"/>
                    <a:pt x="8417589" y="4714488"/>
                  </a:cubicBezTo>
                  <a:cubicBezTo>
                    <a:pt x="8456372" y="4597485"/>
                    <a:pt x="8481140" y="4471332"/>
                    <a:pt x="8495000" y="4346409"/>
                  </a:cubicBezTo>
                  <a:cubicBezTo>
                    <a:pt x="8508404" y="4221044"/>
                    <a:pt x="8511359" y="4095482"/>
                    <a:pt x="8508556" y="3971101"/>
                  </a:cubicBezTo>
                  <a:cubicBezTo>
                    <a:pt x="8504530" y="3846571"/>
                    <a:pt x="8495663" y="3723222"/>
                    <a:pt x="8483330" y="3600710"/>
                  </a:cubicBezTo>
                  <a:cubicBezTo>
                    <a:pt x="8470793" y="3478148"/>
                    <a:pt x="8451888" y="3356421"/>
                    <a:pt x="8425336" y="3236121"/>
                  </a:cubicBezTo>
                  <a:cubicBezTo>
                    <a:pt x="8399091" y="3115774"/>
                    <a:pt x="8367801" y="2996655"/>
                    <a:pt x="8334575" y="2877977"/>
                  </a:cubicBezTo>
                  <a:cubicBezTo>
                    <a:pt x="8268222" y="2640772"/>
                    <a:pt x="8190100" y="2404057"/>
                    <a:pt x="8087513" y="2174622"/>
                  </a:cubicBezTo>
                  <a:cubicBezTo>
                    <a:pt x="7985081" y="1945237"/>
                    <a:pt x="7863233" y="1721900"/>
                    <a:pt x="7723650" y="1507613"/>
                  </a:cubicBezTo>
                  <a:cubicBezTo>
                    <a:pt x="7653527" y="1400692"/>
                    <a:pt x="7579684" y="1295589"/>
                    <a:pt x="7501815" y="1192947"/>
                  </a:cubicBezTo>
                  <a:cubicBezTo>
                    <a:pt x="7423844" y="1090353"/>
                    <a:pt x="7340778" y="991103"/>
                    <a:pt x="7254399" y="894361"/>
                  </a:cubicBezTo>
                  <a:cubicBezTo>
                    <a:pt x="7082047" y="700485"/>
                    <a:pt x="6893083" y="519052"/>
                    <a:pt x="6689339" y="354046"/>
                  </a:cubicBezTo>
                  <a:cubicBezTo>
                    <a:pt x="6536914" y="229775"/>
                    <a:pt x="6375602" y="115325"/>
                    <a:pt x="6206651" y="12626"/>
                  </a:cubicBezTo>
                  <a:close/>
                  <a:moveTo>
                    <a:pt x="1827105" y="0"/>
                  </a:moveTo>
                  <a:lnTo>
                    <a:pt x="2807607" y="0"/>
                  </a:lnTo>
                  <a:lnTo>
                    <a:pt x="2667958" y="88235"/>
                  </a:lnTo>
                  <a:cubicBezTo>
                    <a:pt x="2560098" y="159777"/>
                    <a:pt x="2455754" y="235690"/>
                    <a:pt x="2354723" y="314947"/>
                  </a:cubicBezTo>
                  <a:cubicBezTo>
                    <a:pt x="2253464" y="394030"/>
                    <a:pt x="2156943" y="478181"/>
                    <a:pt x="2059963" y="561545"/>
                  </a:cubicBezTo>
                  <a:cubicBezTo>
                    <a:pt x="1962831" y="644811"/>
                    <a:pt x="1868297" y="731322"/>
                    <a:pt x="1780798" y="824425"/>
                  </a:cubicBezTo>
                  <a:cubicBezTo>
                    <a:pt x="1429010" y="1195013"/>
                    <a:pt x="1148011" y="1628455"/>
                    <a:pt x="954714" y="2094309"/>
                  </a:cubicBezTo>
                  <a:cubicBezTo>
                    <a:pt x="857938" y="2327186"/>
                    <a:pt x="783229" y="2568326"/>
                    <a:pt x="732676" y="2813646"/>
                  </a:cubicBezTo>
                  <a:cubicBezTo>
                    <a:pt x="707552" y="2936307"/>
                    <a:pt x="688085" y="3059952"/>
                    <a:pt x="673867" y="3183989"/>
                  </a:cubicBezTo>
                  <a:cubicBezTo>
                    <a:pt x="660056" y="3308075"/>
                    <a:pt x="651341" y="3432605"/>
                    <a:pt x="647621" y="3557281"/>
                  </a:cubicBezTo>
                  <a:cubicBezTo>
                    <a:pt x="644411" y="3681958"/>
                    <a:pt x="645329" y="3806733"/>
                    <a:pt x="653381" y="3931214"/>
                  </a:cubicBezTo>
                  <a:cubicBezTo>
                    <a:pt x="659852" y="4055792"/>
                    <a:pt x="672949" y="4179977"/>
                    <a:pt x="690428" y="4303719"/>
                  </a:cubicBezTo>
                  <a:cubicBezTo>
                    <a:pt x="726408" y="4551057"/>
                    <a:pt x="786440" y="4795835"/>
                    <a:pt x="871801" y="5033041"/>
                  </a:cubicBezTo>
                  <a:cubicBezTo>
                    <a:pt x="957007" y="5270247"/>
                    <a:pt x="1065962" y="5500322"/>
                    <a:pt x="1197749" y="5718494"/>
                  </a:cubicBezTo>
                  <a:cubicBezTo>
                    <a:pt x="1263846" y="5827433"/>
                    <a:pt x="1334937" y="5933813"/>
                    <a:pt x="1411480" y="6036703"/>
                  </a:cubicBezTo>
                  <a:cubicBezTo>
                    <a:pt x="1449548" y="6088295"/>
                    <a:pt x="1489451" y="6138609"/>
                    <a:pt x="1530170" y="6188430"/>
                  </a:cubicBezTo>
                  <a:cubicBezTo>
                    <a:pt x="1571447" y="6238055"/>
                    <a:pt x="1613644" y="6287336"/>
                    <a:pt x="1657165" y="6335385"/>
                  </a:cubicBezTo>
                  <a:cubicBezTo>
                    <a:pt x="1744079" y="6431708"/>
                    <a:pt x="1835644" y="6524282"/>
                    <a:pt x="1931343" y="6612896"/>
                  </a:cubicBezTo>
                  <a:lnTo>
                    <a:pt x="2220133" y="6858000"/>
                  </a:lnTo>
                  <a:lnTo>
                    <a:pt x="1539862" y="6858000"/>
                  </a:lnTo>
                  <a:lnTo>
                    <a:pt x="1307111" y="6648873"/>
                  </a:lnTo>
                  <a:cubicBezTo>
                    <a:pt x="1101839" y="6448063"/>
                    <a:pt x="913180" y="6225465"/>
                    <a:pt x="750258" y="5987570"/>
                  </a:cubicBezTo>
                  <a:cubicBezTo>
                    <a:pt x="587232" y="5749281"/>
                    <a:pt x="448261" y="5494813"/>
                    <a:pt x="335382" y="5229279"/>
                  </a:cubicBezTo>
                  <a:cubicBezTo>
                    <a:pt x="222298" y="4963793"/>
                    <a:pt x="137040" y="4686652"/>
                    <a:pt x="79351" y="4403854"/>
                  </a:cubicBezTo>
                  <a:cubicBezTo>
                    <a:pt x="50150" y="4262456"/>
                    <a:pt x="29767" y="4119385"/>
                    <a:pt x="16007" y="3975723"/>
                  </a:cubicBezTo>
                  <a:cubicBezTo>
                    <a:pt x="3930" y="3831964"/>
                    <a:pt x="-2441" y="3687614"/>
                    <a:pt x="871" y="3543362"/>
                  </a:cubicBezTo>
                  <a:cubicBezTo>
                    <a:pt x="3522" y="3399160"/>
                    <a:pt x="14172" y="3255105"/>
                    <a:pt x="32519" y="3112085"/>
                  </a:cubicBezTo>
                  <a:cubicBezTo>
                    <a:pt x="50508" y="2969014"/>
                    <a:pt x="76090" y="2826925"/>
                    <a:pt x="108502" y="2686511"/>
                  </a:cubicBezTo>
                  <a:cubicBezTo>
                    <a:pt x="173019" y="2405533"/>
                    <a:pt x="263474" y="2130703"/>
                    <a:pt x="378239" y="1865955"/>
                  </a:cubicBezTo>
                  <a:cubicBezTo>
                    <a:pt x="607922" y="1336607"/>
                    <a:pt x="935706" y="848228"/>
                    <a:pt x="1343701" y="431508"/>
                  </a:cubicBezTo>
                  <a:cubicBezTo>
                    <a:pt x="1446133" y="327783"/>
                    <a:pt x="1550910" y="225926"/>
                    <a:pt x="1661853" y="130268"/>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7" name="Freeform: Shape 16">
              <a:extLst>
                <a:ext uri="{FF2B5EF4-FFF2-40B4-BE49-F238E27FC236}">
                  <a16:creationId xmlns:a16="http://schemas.microsoft.com/office/drawing/2014/main" id="{6A0C77B5-3FAA-4D4F-9555-89D75160887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03402" y="3985"/>
              <a:ext cx="9767847" cy="6858000"/>
            </a:xfrm>
            <a:custGeom>
              <a:avLst/>
              <a:gdLst>
                <a:gd name="connsiteX0" fmla="*/ 7145704 w 9767847"/>
                <a:gd name="connsiteY0" fmla="*/ 0 h 6858000"/>
                <a:gd name="connsiteX1" fmla="*/ 7875738 w 9767847"/>
                <a:gd name="connsiteY1" fmla="*/ 0 h 6858000"/>
                <a:gd name="connsiteX2" fmla="*/ 7990553 w 9767847"/>
                <a:gd name="connsiteY2" fmla="*/ 85415 h 6858000"/>
                <a:gd name="connsiteX3" fmla="*/ 9767847 w 9767847"/>
                <a:gd name="connsiteY3" fmla="*/ 3653129 h 6858000"/>
                <a:gd name="connsiteX4" fmla="*/ 8652597 w 9767847"/>
                <a:gd name="connsiteY4" fmla="*/ 6594103 h 6858000"/>
                <a:gd name="connsiteX5" fmla="*/ 8399240 w 9767847"/>
                <a:gd name="connsiteY5" fmla="*/ 6858000 h 6858000"/>
                <a:gd name="connsiteX6" fmla="*/ 6766926 w 9767847"/>
                <a:gd name="connsiteY6" fmla="*/ 6858000 h 6858000"/>
                <a:gd name="connsiteX7" fmla="*/ 6804586 w 9767847"/>
                <a:gd name="connsiteY7" fmla="*/ 6821201 h 6858000"/>
                <a:gd name="connsiteX8" fmla="*/ 6881735 w 9767847"/>
                <a:gd name="connsiteY8" fmla="*/ 6745295 h 6858000"/>
                <a:gd name="connsiteX9" fmla="*/ 6958883 w 9767847"/>
                <a:gd name="connsiteY9" fmla="*/ 6668920 h 6858000"/>
                <a:gd name="connsiteX10" fmla="*/ 7267925 w 9767847"/>
                <a:gd name="connsiteY10" fmla="*/ 6359792 h 6858000"/>
                <a:gd name="connsiteX11" fmla="*/ 7424360 w 9767847"/>
                <a:gd name="connsiteY11" fmla="*/ 6204783 h 6858000"/>
                <a:gd name="connsiteX12" fmla="*/ 7504938 w 9767847"/>
                <a:gd name="connsiteY12" fmla="*/ 6126806 h 6858000"/>
                <a:gd name="connsiteX13" fmla="*/ 7546396 w 9767847"/>
                <a:gd name="connsiteY13" fmla="*/ 6087795 h 6858000"/>
                <a:gd name="connsiteX14" fmla="*/ 7588002 w 9767847"/>
                <a:gd name="connsiteY14" fmla="*/ 6049630 h 6858000"/>
                <a:gd name="connsiteX15" fmla="*/ 7631000 w 9767847"/>
                <a:gd name="connsiteY15" fmla="*/ 6010807 h 6858000"/>
                <a:gd name="connsiteX16" fmla="*/ 7675440 w 9767847"/>
                <a:gd name="connsiteY16" fmla="*/ 5972407 h 6858000"/>
                <a:gd name="connsiteX17" fmla="*/ 7720626 w 9767847"/>
                <a:gd name="connsiteY17" fmla="*/ 5934949 h 6858000"/>
                <a:gd name="connsiteX18" fmla="*/ 7766458 w 9767847"/>
                <a:gd name="connsiteY18" fmla="*/ 5898432 h 6858000"/>
                <a:gd name="connsiteX19" fmla="*/ 7955254 w 9767847"/>
                <a:gd name="connsiteY19" fmla="*/ 5760926 h 6858000"/>
                <a:gd name="connsiteX20" fmla="*/ 8352678 w 9767847"/>
                <a:gd name="connsiteY20" fmla="*/ 5521728 h 6858000"/>
                <a:gd name="connsiteX21" fmla="*/ 8451350 w 9767847"/>
                <a:gd name="connsiteY21" fmla="*/ 5469352 h 6858000"/>
                <a:gd name="connsiteX22" fmla="*/ 8548532 w 9767847"/>
                <a:gd name="connsiteY22" fmla="*/ 5417493 h 6858000"/>
                <a:gd name="connsiteX23" fmla="*/ 8729473 w 9767847"/>
                <a:gd name="connsiteY23" fmla="*/ 5314059 h 6858000"/>
                <a:gd name="connsiteX24" fmla="*/ 8770781 w 9767847"/>
                <a:gd name="connsiteY24" fmla="*/ 5287330 h 6858000"/>
                <a:gd name="connsiteX25" fmla="*/ 8790964 w 9767847"/>
                <a:gd name="connsiteY25" fmla="*/ 5273590 h 6858000"/>
                <a:gd name="connsiteX26" fmla="*/ 8810499 w 9767847"/>
                <a:gd name="connsiteY26" fmla="*/ 5259801 h 6858000"/>
                <a:gd name="connsiteX27" fmla="*/ 8883571 w 9767847"/>
                <a:gd name="connsiteY27" fmla="*/ 5202577 h 6858000"/>
                <a:gd name="connsiteX28" fmla="*/ 9006651 w 9767847"/>
                <a:gd name="connsiteY28" fmla="*/ 5074625 h 6858000"/>
                <a:gd name="connsiteX29" fmla="*/ 9033494 w 9767847"/>
                <a:gd name="connsiteY29" fmla="*/ 5038203 h 6858000"/>
                <a:gd name="connsiteX30" fmla="*/ 9040305 w 9767847"/>
                <a:gd name="connsiteY30" fmla="*/ 5028649 h 6858000"/>
                <a:gd name="connsiteX31" fmla="*/ 9046568 w 9767847"/>
                <a:gd name="connsiteY31" fmla="*/ 5019379 h 6858000"/>
                <a:gd name="connsiteX32" fmla="*/ 9058846 w 9767847"/>
                <a:gd name="connsiteY32" fmla="*/ 5000743 h 6858000"/>
                <a:gd name="connsiteX33" fmla="*/ 9104529 w 9767847"/>
                <a:gd name="connsiteY33" fmla="*/ 4922203 h 6858000"/>
                <a:gd name="connsiteX34" fmla="*/ 9181081 w 9767847"/>
                <a:gd name="connsiteY34" fmla="*/ 4748792 h 6858000"/>
                <a:gd name="connsiteX35" fmla="*/ 9240731 w 9767847"/>
                <a:gd name="connsiteY35" fmla="*/ 4561970 h 6858000"/>
                <a:gd name="connsiteX36" fmla="*/ 9265388 w 9767847"/>
                <a:gd name="connsiteY36" fmla="*/ 4465171 h 6858000"/>
                <a:gd name="connsiteX37" fmla="*/ 9276571 w 9767847"/>
                <a:gd name="connsiteY37" fmla="*/ 4416041 h 6858000"/>
                <a:gd name="connsiteX38" fmla="*/ 9281841 w 9767847"/>
                <a:gd name="connsiteY38" fmla="*/ 4391477 h 6858000"/>
                <a:gd name="connsiteX39" fmla="*/ 9286513 w 9767847"/>
                <a:gd name="connsiteY39" fmla="*/ 4368936 h 6858000"/>
                <a:gd name="connsiteX40" fmla="*/ 9296754 w 9767847"/>
                <a:gd name="connsiteY40" fmla="*/ 4316136 h 6858000"/>
                <a:gd name="connsiteX41" fmla="*/ 9301029 w 9767847"/>
                <a:gd name="connsiteY41" fmla="*/ 4293172 h 6858000"/>
                <a:gd name="connsiteX42" fmla="*/ 9302818 w 9767847"/>
                <a:gd name="connsiteY42" fmla="*/ 4282679 h 6858000"/>
                <a:gd name="connsiteX43" fmla="*/ 9304658 w 9767847"/>
                <a:gd name="connsiteY43" fmla="*/ 4270914 h 6858000"/>
                <a:gd name="connsiteX44" fmla="*/ 9312810 w 9767847"/>
                <a:gd name="connsiteY44" fmla="*/ 4220043 h 6858000"/>
                <a:gd name="connsiteX45" fmla="*/ 9316887 w 9767847"/>
                <a:gd name="connsiteY45" fmla="*/ 4194584 h 6858000"/>
                <a:gd name="connsiteX46" fmla="*/ 9318923 w 9767847"/>
                <a:gd name="connsiteY46" fmla="*/ 4181878 h 6858000"/>
                <a:gd name="connsiteX47" fmla="*/ 9320515 w 9767847"/>
                <a:gd name="connsiteY47" fmla="*/ 4168984 h 6858000"/>
                <a:gd name="connsiteX48" fmla="*/ 9332445 w 9767847"/>
                <a:gd name="connsiteY48" fmla="*/ 4069079 h 6858000"/>
                <a:gd name="connsiteX49" fmla="*/ 9336173 w 9767847"/>
                <a:gd name="connsiteY49" fmla="*/ 4022774 h 6858000"/>
                <a:gd name="connsiteX50" fmla="*/ 9340199 w 9767847"/>
                <a:gd name="connsiteY50" fmla="*/ 3969269 h 6858000"/>
                <a:gd name="connsiteX51" fmla="*/ 9347557 w 9767847"/>
                <a:gd name="connsiteY51" fmla="*/ 3770070 h 6858000"/>
                <a:gd name="connsiteX52" fmla="*/ 9346364 w 9767847"/>
                <a:gd name="connsiteY52" fmla="*/ 3669036 h 6858000"/>
                <a:gd name="connsiteX53" fmla="*/ 9344921 w 9767847"/>
                <a:gd name="connsiteY53" fmla="*/ 3619341 h 6858000"/>
                <a:gd name="connsiteX54" fmla="*/ 9344524 w 9767847"/>
                <a:gd name="connsiteY54" fmla="*/ 3607624 h 6858000"/>
                <a:gd name="connsiteX55" fmla="*/ 9343728 w 9767847"/>
                <a:gd name="connsiteY55" fmla="*/ 3594872 h 6858000"/>
                <a:gd name="connsiteX56" fmla="*/ 9342188 w 9767847"/>
                <a:gd name="connsiteY56" fmla="*/ 3569366 h 6858000"/>
                <a:gd name="connsiteX57" fmla="*/ 9339056 w 9767847"/>
                <a:gd name="connsiteY57" fmla="*/ 3518354 h 6858000"/>
                <a:gd name="connsiteX58" fmla="*/ 9334334 w 9767847"/>
                <a:gd name="connsiteY58" fmla="*/ 3467155 h 6858000"/>
                <a:gd name="connsiteX59" fmla="*/ 9329363 w 9767847"/>
                <a:gd name="connsiteY59" fmla="*/ 3415908 h 6858000"/>
                <a:gd name="connsiteX60" fmla="*/ 9328319 w 9767847"/>
                <a:gd name="connsiteY60" fmla="*/ 3404755 h 6858000"/>
                <a:gd name="connsiteX61" fmla="*/ 9327177 w 9767847"/>
                <a:gd name="connsiteY61" fmla="*/ 3394214 h 6858000"/>
                <a:gd name="connsiteX62" fmla="*/ 9324293 w 9767847"/>
                <a:gd name="connsiteY62" fmla="*/ 3370872 h 6858000"/>
                <a:gd name="connsiteX63" fmla="*/ 9320763 w 9767847"/>
                <a:gd name="connsiteY63" fmla="*/ 3344427 h 6858000"/>
                <a:gd name="connsiteX64" fmla="*/ 9317184 w 9767847"/>
                <a:gd name="connsiteY64" fmla="*/ 3315343 h 6858000"/>
                <a:gd name="connsiteX65" fmla="*/ 9311021 w 9767847"/>
                <a:gd name="connsiteY65" fmla="*/ 3270309 h 6858000"/>
                <a:gd name="connsiteX66" fmla="*/ 9302719 w 9767847"/>
                <a:gd name="connsiteY66" fmla="*/ 3219815 h 6858000"/>
                <a:gd name="connsiteX67" fmla="*/ 9293970 w 9767847"/>
                <a:gd name="connsiteY67" fmla="*/ 3169887 h 6858000"/>
                <a:gd name="connsiteX68" fmla="*/ 9252065 w 9767847"/>
                <a:gd name="connsiteY68" fmla="*/ 2971205 h 6858000"/>
                <a:gd name="connsiteX69" fmla="*/ 9227211 w 9767847"/>
                <a:gd name="connsiteY69" fmla="*/ 2872571 h 6858000"/>
                <a:gd name="connsiteX70" fmla="*/ 9220699 w 9767847"/>
                <a:gd name="connsiteY70" fmla="*/ 2848524 h 6858000"/>
                <a:gd name="connsiteX71" fmla="*/ 9213740 w 9767847"/>
                <a:gd name="connsiteY71" fmla="*/ 2824289 h 6858000"/>
                <a:gd name="connsiteX72" fmla="*/ 9199374 w 9767847"/>
                <a:gd name="connsiteY72" fmla="*/ 2775536 h 6858000"/>
                <a:gd name="connsiteX73" fmla="*/ 9061829 w 9767847"/>
                <a:gd name="connsiteY73" fmla="*/ 2389515 h 6858000"/>
                <a:gd name="connsiteX74" fmla="*/ 8978865 w 9767847"/>
                <a:gd name="connsiteY74" fmla="*/ 2200953 h 6858000"/>
                <a:gd name="connsiteX75" fmla="*/ 8956694 w 9767847"/>
                <a:gd name="connsiteY75" fmla="*/ 2154317 h 6858000"/>
                <a:gd name="connsiteX76" fmla="*/ 8934176 w 9767847"/>
                <a:gd name="connsiteY76" fmla="*/ 2108012 h 6858000"/>
                <a:gd name="connsiteX77" fmla="*/ 8887151 w 9767847"/>
                <a:gd name="connsiteY77" fmla="*/ 2015448 h 6858000"/>
                <a:gd name="connsiteX78" fmla="*/ 8787533 w 9767847"/>
                <a:gd name="connsiteY78" fmla="*/ 1832625 h 6858000"/>
                <a:gd name="connsiteX79" fmla="*/ 8761485 w 9767847"/>
                <a:gd name="connsiteY79" fmla="*/ 1787496 h 6858000"/>
                <a:gd name="connsiteX80" fmla="*/ 8734791 w 9767847"/>
                <a:gd name="connsiteY80" fmla="*/ 1741991 h 6858000"/>
                <a:gd name="connsiteX81" fmla="*/ 8680808 w 9767847"/>
                <a:gd name="connsiteY81" fmla="*/ 1652910 h 6858000"/>
                <a:gd name="connsiteX82" fmla="*/ 8567024 w 9767847"/>
                <a:gd name="connsiteY82" fmla="*/ 1477004 h 6858000"/>
                <a:gd name="connsiteX83" fmla="*/ 8537446 w 9767847"/>
                <a:gd name="connsiteY83" fmla="*/ 1433428 h 6858000"/>
                <a:gd name="connsiteX84" fmla="*/ 8507423 w 9767847"/>
                <a:gd name="connsiteY84" fmla="*/ 1389994 h 6858000"/>
                <a:gd name="connsiteX85" fmla="*/ 8446529 w 9767847"/>
                <a:gd name="connsiteY85" fmla="*/ 1304393 h 6858000"/>
                <a:gd name="connsiteX86" fmla="*/ 8319224 w 9767847"/>
                <a:gd name="connsiteY86" fmla="*/ 1135124 h 6858000"/>
                <a:gd name="connsiteX87" fmla="*/ 8286366 w 9767847"/>
                <a:gd name="connsiteY87" fmla="*/ 1093148 h 6858000"/>
                <a:gd name="connsiteX88" fmla="*/ 8270161 w 9767847"/>
                <a:gd name="connsiteY88" fmla="*/ 1072538 h 6858000"/>
                <a:gd name="connsiteX89" fmla="*/ 8253856 w 9767847"/>
                <a:gd name="connsiteY89" fmla="*/ 1052254 h 6858000"/>
                <a:gd name="connsiteX90" fmla="*/ 8186352 w 9767847"/>
                <a:gd name="connsiteY90" fmla="*/ 970373 h 6858000"/>
                <a:gd name="connsiteX91" fmla="*/ 8046768 w 9767847"/>
                <a:gd name="connsiteY91" fmla="*/ 809527 h 6858000"/>
                <a:gd name="connsiteX92" fmla="*/ 8010927 w 9767847"/>
                <a:gd name="connsiteY92" fmla="*/ 769951 h 6858000"/>
                <a:gd name="connsiteX93" fmla="*/ 7974788 w 9767847"/>
                <a:gd name="connsiteY93" fmla="*/ 730751 h 6858000"/>
                <a:gd name="connsiteX94" fmla="*/ 7901070 w 9767847"/>
                <a:gd name="connsiteY94" fmla="*/ 652823 h 6858000"/>
                <a:gd name="connsiteX95" fmla="*/ 7750054 w 9767847"/>
                <a:gd name="connsiteY95" fmla="*/ 501106 h 6858000"/>
                <a:gd name="connsiteX96" fmla="*/ 7592277 w 9767847"/>
                <a:gd name="connsiteY96" fmla="*/ 355319 h 6858000"/>
                <a:gd name="connsiteX97" fmla="*/ 7257734 w 9767847"/>
                <a:gd name="connsiteY97" fmla="*/ 81062 h 6858000"/>
                <a:gd name="connsiteX98" fmla="*/ 1892109 w 9767847"/>
                <a:gd name="connsiteY98" fmla="*/ 0 h 6858000"/>
                <a:gd name="connsiteX99" fmla="*/ 2298402 w 9767847"/>
                <a:gd name="connsiteY99" fmla="*/ 0 h 6858000"/>
                <a:gd name="connsiteX100" fmla="*/ 2135542 w 9767847"/>
                <a:gd name="connsiteY100" fmla="*/ 121879 h 6858000"/>
                <a:gd name="connsiteX101" fmla="*/ 1969576 w 9767847"/>
                <a:gd name="connsiteY101" fmla="*/ 259084 h 6858000"/>
                <a:gd name="connsiteX102" fmla="*/ 1659938 w 9767847"/>
                <a:gd name="connsiteY102" fmla="*/ 553953 h 6858000"/>
                <a:gd name="connsiteX103" fmla="*/ 729383 w 9767847"/>
                <a:gd name="connsiteY103" fmla="*/ 1940578 h 6858000"/>
                <a:gd name="connsiteX104" fmla="*/ 578465 w 9767847"/>
                <a:gd name="connsiteY104" fmla="*/ 2324905 h 6858000"/>
                <a:gd name="connsiteX105" fmla="*/ 465080 w 9767847"/>
                <a:gd name="connsiteY105" fmla="*/ 2718973 h 6858000"/>
                <a:gd name="connsiteX106" fmla="*/ 423820 w 9767847"/>
                <a:gd name="connsiteY106" fmla="*/ 2919535 h 6858000"/>
                <a:gd name="connsiteX107" fmla="*/ 392355 w 9767847"/>
                <a:gd name="connsiteY107" fmla="*/ 3122169 h 6858000"/>
                <a:gd name="connsiteX108" fmla="*/ 358801 w 9767847"/>
                <a:gd name="connsiteY108" fmla="*/ 3531013 h 6858000"/>
                <a:gd name="connsiteX109" fmla="*/ 410350 w 9767847"/>
                <a:gd name="connsiteY109" fmla="*/ 4352324 h 6858000"/>
                <a:gd name="connsiteX110" fmla="*/ 449022 w 9767847"/>
                <a:gd name="connsiteY110" fmla="*/ 4555147 h 6858000"/>
                <a:gd name="connsiteX111" fmla="*/ 498882 w 9767847"/>
                <a:gd name="connsiteY111" fmla="*/ 4756463 h 6858000"/>
                <a:gd name="connsiteX112" fmla="*/ 559775 w 9767847"/>
                <a:gd name="connsiteY112" fmla="*/ 4955755 h 6858000"/>
                <a:gd name="connsiteX113" fmla="*/ 631406 w 9767847"/>
                <a:gd name="connsiteY113" fmla="*/ 5152084 h 6858000"/>
                <a:gd name="connsiteX114" fmla="*/ 1023461 w 9767847"/>
                <a:gd name="connsiteY114" fmla="*/ 5898055 h 6858000"/>
                <a:gd name="connsiteX115" fmla="*/ 1575880 w 9767847"/>
                <a:gd name="connsiteY115" fmla="*/ 6551744 h 6858000"/>
                <a:gd name="connsiteX116" fmla="*/ 1905228 w 9767847"/>
                <a:gd name="connsiteY116" fmla="*/ 6833566 h 6858000"/>
                <a:gd name="connsiteX117" fmla="*/ 1938629 w 9767847"/>
                <a:gd name="connsiteY117" fmla="*/ 6858000 h 6858000"/>
                <a:gd name="connsiteX118" fmla="*/ 1368607 w 9767847"/>
                <a:gd name="connsiteY118" fmla="*/ 6858000 h 6858000"/>
                <a:gd name="connsiteX119" fmla="*/ 1115251 w 9767847"/>
                <a:gd name="connsiteY119" fmla="*/ 6594103 h 6858000"/>
                <a:gd name="connsiteX120" fmla="*/ 0 w 9767847"/>
                <a:gd name="connsiteY120" fmla="*/ 3653129 h 6858000"/>
                <a:gd name="connsiteX121" fmla="*/ 1777294 w 9767847"/>
                <a:gd name="connsiteY121" fmla="*/ 854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767847" h="6858000">
                  <a:moveTo>
                    <a:pt x="7145704" y="0"/>
                  </a:moveTo>
                  <a:lnTo>
                    <a:pt x="7875738" y="0"/>
                  </a:lnTo>
                  <a:lnTo>
                    <a:pt x="7990553" y="85415"/>
                  </a:lnTo>
                  <a:cubicBezTo>
                    <a:pt x="9075991" y="933432"/>
                    <a:pt x="9767847" y="2216793"/>
                    <a:pt x="9767847" y="3653129"/>
                  </a:cubicBezTo>
                  <a:cubicBezTo>
                    <a:pt x="9767847" y="4770280"/>
                    <a:pt x="9349317" y="5794890"/>
                    <a:pt x="8652597" y="6594103"/>
                  </a:cubicBezTo>
                  <a:lnTo>
                    <a:pt x="8399240" y="6858000"/>
                  </a:lnTo>
                  <a:lnTo>
                    <a:pt x="6766926" y="6858000"/>
                  </a:lnTo>
                  <a:lnTo>
                    <a:pt x="6804586" y="6821201"/>
                  </a:lnTo>
                  <a:lnTo>
                    <a:pt x="6881735" y="6745295"/>
                  </a:lnTo>
                  <a:cubicBezTo>
                    <a:pt x="6907435" y="6719979"/>
                    <a:pt x="6933134" y="6694896"/>
                    <a:pt x="6958883" y="6668920"/>
                  </a:cubicBezTo>
                  <a:lnTo>
                    <a:pt x="7267925" y="6359792"/>
                  </a:lnTo>
                  <a:lnTo>
                    <a:pt x="7424360" y="6204783"/>
                  </a:lnTo>
                  <a:cubicBezTo>
                    <a:pt x="7450754" y="6178900"/>
                    <a:pt x="7477598" y="6152829"/>
                    <a:pt x="7504938" y="6126806"/>
                  </a:cubicBezTo>
                  <a:lnTo>
                    <a:pt x="7546396" y="6087795"/>
                  </a:lnTo>
                  <a:cubicBezTo>
                    <a:pt x="7560264" y="6074901"/>
                    <a:pt x="7574780" y="6061630"/>
                    <a:pt x="7588002" y="6049630"/>
                  </a:cubicBezTo>
                  <a:lnTo>
                    <a:pt x="7631000" y="6010807"/>
                  </a:lnTo>
                  <a:lnTo>
                    <a:pt x="7675440" y="5972407"/>
                  </a:lnTo>
                  <a:cubicBezTo>
                    <a:pt x="7690404" y="5959796"/>
                    <a:pt x="7705564" y="5947419"/>
                    <a:pt x="7720626" y="5934949"/>
                  </a:cubicBezTo>
                  <a:cubicBezTo>
                    <a:pt x="7735738" y="5922525"/>
                    <a:pt x="7751197" y="5910619"/>
                    <a:pt x="7766458" y="5898432"/>
                  </a:cubicBezTo>
                  <a:cubicBezTo>
                    <a:pt x="7827949" y="5850290"/>
                    <a:pt x="7890979" y="5804597"/>
                    <a:pt x="7955254" y="5760926"/>
                  </a:cubicBezTo>
                  <a:cubicBezTo>
                    <a:pt x="8083800" y="5673632"/>
                    <a:pt x="8216872" y="5594434"/>
                    <a:pt x="8352678" y="5521728"/>
                  </a:cubicBezTo>
                  <a:lnTo>
                    <a:pt x="8451350" y="5469352"/>
                  </a:lnTo>
                  <a:lnTo>
                    <a:pt x="8548532" y="5417493"/>
                  </a:lnTo>
                  <a:cubicBezTo>
                    <a:pt x="8612110" y="5383188"/>
                    <a:pt x="8673251" y="5349306"/>
                    <a:pt x="8729473" y="5314059"/>
                  </a:cubicBezTo>
                  <a:cubicBezTo>
                    <a:pt x="8743591" y="5305213"/>
                    <a:pt x="8757161" y="5296459"/>
                    <a:pt x="8770781" y="5287330"/>
                  </a:cubicBezTo>
                  <a:cubicBezTo>
                    <a:pt x="8777591" y="5282765"/>
                    <a:pt x="8784451" y="5278201"/>
                    <a:pt x="8790964" y="5273590"/>
                  </a:cubicBezTo>
                  <a:cubicBezTo>
                    <a:pt x="8797574" y="5268977"/>
                    <a:pt x="8804235" y="5264412"/>
                    <a:pt x="8810499" y="5259801"/>
                  </a:cubicBezTo>
                  <a:cubicBezTo>
                    <a:pt x="8835999" y="5241401"/>
                    <a:pt x="8860407" y="5222389"/>
                    <a:pt x="8883571" y="5202577"/>
                  </a:cubicBezTo>
                  <a:cubicBezTo>
                    <a:pt x="8929900" y="5162954"/>
                    <a:pt x="8971258" y="5120413"/>
                    <a:pt x="9006651" y="5074625"/>
                  </a:cubicBezTo>
                  <a:cubicBezTo>
                    <a:pt x="9015351" y="5063426"/>
                    <a:pt x="9024398" y="5050955"/>
                    <a:pt x="9033494" y="5038203"/>
                  </a:cubicBezTo>
                  <a:lnTo>
                    <a:pt x="9040305" y="5028649"/>
                  </a:lnTo>
                  <a:lnTo>
                    <a:pt x="9046568" y="5019379"/>
                  </a:lnTo>
                  <a:cubicBezTo>
                    <a:pt x="9050743" y="5013261"/>
                    <a:pt x="9054819" y="5007050"/>
                    <a:pt x="9058846" y="5000743"/>
                  </a:cubicBezTo>
                  <a:cubicBezTo>
                    <a:pt x="9075002" y="4975615"/>
                    <a:pt x="9090212" y="4949403"/>
                    <a:pt x="9104529" y="4922203"/>
                  </a:cubicBezTo>
                  <a:cubicBezTo>
                    <a:pt x="9133211" y="4867850"/>
                    <a:pt x="9158313" y="4809545"/>
                    <a:pt x="9181081" y="4748792"/>
                  </a:cubicBezTo>
                  <a:cubicBezTo>
                    <a:pt x="9203748" y="4688276"/>
                    <a:pt x="9223383" y="4625876"/>
                    <a:pt x="9240731" y="4561970"/>
                  </a:cubicBezTo>
                  <a:cubicBezTo>
                    <a:pt x="9249481" y="4530064"/>
                    <a:pt x="9257682" y="4497782"/>
                    <a:pt x="9265388" y="4465171"/>
                  </a:cubicBezTo>
                  <a:cubicBezTo>
                    <a:pt x="9269215" y="4448842"/>
                    <a:pt x="9272943" y="4432465"/>
                    <a:pt x="9276571" y="4416041"/>
                  </a:cubicBezTo>
                  <a:lnTo>
                    <a:pt x="9281841" y="4391477"/>
                  </a:lnTo>
                  <a:lnTo>
                    <a:pt x="9286513" y="4368936"/>
                  </a:lnTo>
                  <a:lnTo>
                    <a:pt x="9296754" y="4316136"/>
                  </a:lnTo>
                  <a:lnTo>
                    <a:pt x="9301029" y="4293172"/>
                  </a:lnTo>
                  <a:lnTo>
                    <a:pt x="9302818" y="4282679"/>
                  </a:lnTo>
                  <a:lnTo>
                    <a:pt x="9304658" y="4270914"/>
                  </a:lnTo>
                  <a:lnTo>
                    <a:pt x="9312810" y="4220043"/>
                  </a:lnTo>
                  <a:lnTo>
                    <a:pt x="9316887" y="4194584"/>
                  </a:lnTo>
                  <a:lnTo>
                    <a:pt x="9318923" y="4181878"/>
                  </a:lnTo>
                  <a:cubicBezTo>
                    <a:pt x="9319570" y="4177644"/>
                    <a:pt x="9319969" y="4173267"/>
                    <a:pt x="9320515" y="4168984"/>
                  </a:cubicBezTo>
                  <a:lnTo>
                    <a:pt x="9332445" y="4069079"/>
                  </a:lnTo>
                  <a:cubicBezTo>
                    <a:pt x="9333836" y="4056468"/>
                    <a:pt x="9334880" y="4040986"/>
                    <a:pt x="9336173" y="4022774"/>
                  </a:cubicBezTo>
                  <a:lnTo>
                    <a:pt x="9340199" y="3969269"/>
                  </a:lnTo>
                  <a:cubicBezTo>
                    <a:pt x="9345071" y="3903904"/>
                    <a:pt x="9347358" y="3837081"/>
                    <a:pt x="9347557" y="3770070"/>
                  </a:cubicBezTo>
                  <a:cubicBezTo>
                    <a:pt x="9347656" y="3736518"/>
                    <a:pt x="9347209" y="3702871"/>
                    <a:pt x="9346364" y="3669036"/>
                  </a:cubicBezTo>
                  <a:lnTo>
                    <a:pt x="9344921" y="3619341"/>
                  </a:lnTo>
                  <a:lnTo>
                    <a:pt x="9344524" y="3607624"/>
                  </a:lnTo>
                  <a:lnTo>
                    <a:pt x="9343728" y="3594872"/>
                  </a:lnTo>
                  <a:lnTo>
                    <a:pt x="9342188" y="3569366"/>
                  </a:lnTo>
                  <a:lnTo>
                    <a:pt x="9339056" y="3518354"/>
                  </a:lnTo>
                  <a:cubicBezTo>
                    <a:pt x="9337914" y="3501319"/>
                    <a:pt x="9335874" y="3484236"/>
                    <a:pt x="9334334" y="3467155"/>
                  </a:cubicBezTo>
                  <a:lnTo>
                    <a:pt x="9329363" y="3415908"/>
                  </a:lnTo>
                  <a:lnTo>
                    <a:pt x="9328319" y="3404755"/>
                  </a:lnTo>
                  <a:lnTo>
                    <a:pt x="9327177" y="3394214"/>
                  </a:lnTo>
                  <a:lnTo>
                    <a:pt x="9324293" y="3370872"/>
                  </a:lnTo>
                  <a:lnTo>
                    <a:pt x="9320763" y="3344427"/>
                  </a:lnTo>
                  <a:lnTo>
                    <a:pt x="9317184" y="3315343"/>
                  </a:lnTo>
                  <a:cubicBezTo>
                    <a:pt x="9315594" y="3300991"/>
                    <a:pt x="9313506" y="3286404"/>
                    <a:pt x="9311021" y="3270309"/>
                  </a:cubicBezTo>
                  <a:lnTo>
                    <a:pt x="9302719" y="3219815"/>
                  </a:lnTo>
                  <a:cubicBezTo>
                    <a:pt x="9299936" y="3203157"/>
                    <a:pt x="9297003" y="3186498"/>
                    <a:pt x="9293970" y="3169887"/>
                  </a:cubicBezTo>
                  <a:cubicBezTo>
                    <a:pt x="9281891" y="3103393"/>
                    <a:pt x="9267674" y="3037182"/>
                    <a:pt x="9252065" y="2971205"/>
                  </a:cubicBezTo>
                  <a:cubicBezTo>
                    <a:pt x="9244261" y="2938265"/>
                    <a:pt x="9235959" y="2905371"/>
                    <a:pt x="9227211" y="2872571"/>
                  </a:cubicBezTo>
                  <a:lnTo>
                    <a:pt x="9220699" y="2848524"/>
                  </a:lnTo>
                  <a:lnTo>
                    <a:pt x="9213740" y="2824289"/>
                  </a:lnTo>
                  <a:cubicBezTo>
                    <a:pt x="9209216" y="2808147"/>
                    <a:pt x="9204345" y="2791866"/>
                    <a:pt x="9199374" y="2775536"/>
                  </a:cubicBezTo>
                  <a:cubicBezTo>
                    <a:pt x="9159855" y="2645184"/>
                    <a:pt x="9114272" y="2516197"/>
                    <a:pt x="9061829" y="2389515"/>
                  </a:cubicBezTo>
                  <a:cubicBezTo>
                    <a:pt x="9035582" y="2326175"/>
                    <a:pt x="9008043" y="2263258"/>
                    <a:pt x="8978865" y="2200953"/>
                  </a:cubicBezTo>
                  <a:lnTo>
                    <a:pt x="8956694" y="2154317"/>
                  </a:lnTo>
                  <a:lnTo>
                    <a:pt x="8934176" y="2108012"/>
                  </a:lnTo>
                  <a:cubicBezTo>
                    <a:pt x="8918915" y="2077189"/>
                    <a:pt x="8903157" y="2046130"/>
                    <a:pt x="8887151" y="2015448"/>
                  </a:cubicBezTo>
                  <a:cubicBezTo>
                    <a:pt x="8854988" y="1953989"/>
                    <a:pt x="8822082" y="1892908"/>
                    <a:pt x="8787533" y="1832625"/>
                  </a:cubicBezTo>
                  <a:lnTo>
                    <a:pt x="8761485" y="1787496"/>
                  </a:lnTo>
                  <a:lnTo>
                    <a:pt x="8734791" y="1741991"/>
                  </a:lnTo>
                  <a:cubicBezTo>
                    <a:pt x="8717047" y="1711921"/>
                    <a:pt x="8699200" y="1682461"/>
                    <a:pt x="8680808" y="1652910"/>
                  </a:cubicBezTo>
                  <a:cubicBezTo>
                    <a:pt x="8644322" y="1593756"/>
                    <a:pt x="8606194" y="1535216"/>
                    <a:pt x="8567024" y="1477004"/>
                  </a:cubicBezTo>
                  <a:lnTo>
                    <a:pt x="8537446" y="1433428"/>
                  </a:lnTo>
                  <a:lnTo>
                    <a:pt x="8507423" y="1389994"/>
                  </a:lnTo>
                  <a:cubicBezTo>
                    <a:pt x="8487390" y="1361382"/>
                    <a:pt x="8467158" y="1332817"/>
                    <a:pt x="8446529" y="1304393"/>
                  </a:cubicBezTo>
                  <a:cubicBezTo>
                    <a:pt x="8405271" y="1247595"/>
                    <a:pt x="8362718" y="1191218"/>
                    <a:pt x="8319224" y="1135124"/>
                  </a:cubicBezTo>
                  <a:lnTo>
                    <a:pt x="8286366" y="1093148"/>
                  </a:lnTo>
                  <a:lnTo>
                    <a:pt x="8270161" y="1072538"/>
                  </a:lnTo>
                  <a:lnTo>
                    <a:pt x="8253856" y="1052254"/>
                  </a:lnTo>
                  <a:cubicBezTo>
                    <a:pt x="8231636" y="1024773"/>
                    <a:pt x="8209117" y="997479"/>
                    <a:pt x="8186352" y="970373"/>
                  </a:cubicBezTo>
                  <a:cubicBezTo>
                    <a:pt x="8140917" y="916020"/>
                    <a:pt x="8094240" y="862515"/>
                    <a:pt x="8046768" y="809527"/>
                  </a:cubicBezTo>
                  <a:lnTo>
                    <a:pt x="8010927" y="769951"/>
                  </a:lnTo>
                  <a:lnTo>
                    <a:pt x="7974788" y="730751"/>
                  </a:lnTo>
                  <a:cubicBezTo>
                    <a:pt x="7950382" y="704587"/>
                    <a:pt x="7925824" y="678563"/>
                    <a:pt x="7901070" y="652823"/>
                  </a:cubicBezTo>
                  <a:cubicBezTo>
                    <a:pt x="7851510" y="601387"/>
                    <a:pt x="7801404" y="550612"/>
                    <a:pt x="7750054" y="501106"/>
                  </a:cubicBezTo>
                  <a:cubicBezTo>
                    <a:pt x="7698902" y="451742"/>
                    <a:pt x="7645913" y="403036"/>
                    <a:pt x="7592277" y="355319"/>
                  </a:cubicBezTo>
                  <a:cubicBezTo>
                    <a:pt x="7484856" y="259884"/>
                    <a:pt x="7373308" y="168402"/>
                    <a:pt x="7257734" y="81062"/>
                  </a:cubicBezTo>
                  <a:close/>
                  <a:moveTo>
                    <a:pt x="1892109" y="0"/>
                  </a:moveTo>
                  <a:lnTo>
                    <a:pt x="2298402" y="0"/>
                  </a:lnTo>
                  <a:lnTo>
                    <a:pt x="2135542" y="121879"/>
                  </a:lnTo>
                  <a:cubicBezTo>
                    <a:pt x="2078998" y="166378"/>
                    <a:pt x="2023659" y="212143"/>
                    <a:pt x="1969576" y="259084"/>
                  </a:cubicBezTo>
                  <a:cubicBezTo>
                    <a:pt x="1861309" y="352918"/>
                    <a:pt x="1758064" y="451412"/>
                    <a:pt x="1659938" y="553953"/>
                  </a:cubicBezTo>
                  <a:cubicBezTo>
                    <a:pt x="1266987" y="964444"/>
                    <a:pt x="953820" y="1435593"/>
                    <a:pt x="729383" y="1940578"/>
                  </a:cubicBezTo>
                  <a:cubicBezTo>
                    <a:pt x="673260" y="2066459"/>
                    <a:pt x="622855" y="2195070"/>
                    <a:pt x="578465" y="2324905"/>
                  </a:cubicBezTo>
                  <a:cubicBezTo>
                    <a:pt x="534125" y="2454785"/>
                    <a:pt x="496147" y="2586314"/>
                    <a:pt x="465080" y="2718973"/>
                  </a:cubicBezTo>
                  <a:cubicBezTo>
                    <a:pt x="449769" y="2785089"/>
                    <a:pt x="435850" y="2852289"/>
                    <a:pt x="423820" y="2919535"/>
                  </a:cubicBezTo>
                  <a:cubicBezTo>
                    <a:pt x="411840" y="2986829"/>
                    <a:pt x="401054" y="3054358"/>
                    <a:pt x="392355" y="3122169"/>
                  </a:cubicBezTo>
                  <a:cubicBezTo>
                    <a:pt x="374509" y="3257744"/>
                    <a:pt x="363424" y="3393978"/>
                    <a:pt x="358801" y="3531013"/>
                  </a:cubicBezTo>
                  <a:cubicBezTo>
                    <a:pt x="349009" y="3804941"/>
                    <a:pt x="366357" y="4079668"/>
                    <a:pt x="410350" y="4352324"/>
                  </a:cubicBezTo>
                  <a:cubicBezTo>
                    <a:pt x="421286" y="4420230"/>
                    <a:pt x="434209" y="4487758"/>
                    <a:pt x="449022" y="4555147"/>
                  </a:cubicBezTo>
                  <a:cubicBezTo>
                    <a:pt x="463737" y="4622534"/>
                    <a:pt x="480389" y="4689686"/>
                    <a:pt x="498882" y="4756463"/>
                  </a:cubicBezTo>
                  <a:cubicBezTo>
                    <a:pt x="517373" y="4823239"/>
                    <a:pt x="537704" y="4889733"/>
                    <a:pt x="559775" y="4955755"/>
                  </a:cubicBezTo>
                  <a:cubicBezTo>
                    <a:pt x="581946" y="5021873"/>
                    <a:pt x="605358" y="5087473"/>
                    <a:pt x="631406" y="5152084"/>
                  </a:cubicBezTo>
                  <a:cubicBezTo>
                    <a:pt x="734055" y="5411706"/>
                    <a:pt x="865188" y="5662668"/>
                    <a:pt x="1023461" y="5898055"/>
                  </a:cubicBezTo>
                  <a:cubicBezTo>
                    <a:pt x="1181487" y="6133676"/>
                    <a:pt x="1367051" y="6353345"/>
                    <a:pt x="1575880" y="6551744"/>
                  </a:cubicBezTo>
                  <a:cubicBezTo>
                    <a:pt x="1680269" y="6651014"/>
                    <a:pt x="1790338" y="6745037"/>
                    <a:pt x="1905228" y="6833566"/>
                  </a:cubicBezTo>
                  <a:lnTo>
                    <a:pt x="1938629" y="6858000"/>
                  </a:lnTo>
                  <a:lnTo>
                    <a:pt x="1368607" y="6858000"/>
                  </a:lnTo>
                  <a:lnTo>
                    <a:pt x="1115251" y="6594103"/>
                  </a:lnTo>
                  <a:cubicBezTo>
                    <a:pt x="418530" y="5794890"/>
                    <a:pt x="0" y="4770280"/>
                    <a:pt x="0" y="3653129"/>
                  </a:cubicBezTo>
                  <a:cubicBezTo>
                    <a:pt x="0" y="2216793"/>
                    <a:pt x="691856" y="933432"/>
                    <a:pt x="1777294" y="85415"/>
                  </a:cubicBezTo>
                  <a:close/>
                </a:path>
              </a:pathLst>
            </a:cu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chemeClr val="lt1"/>
                </a:solidFill>
              </a:endParaRPr>
            </a:p>
          </p:txBody>
        </p:sp>
        <p:sp>
          <p:nvSpPr>
            <p:cNvPr id="18" name="Freeform: Shape 17">
              <a:extLst>
                <a:ext uri="{FF2B5EF4-FFF2-40B4-BE49-F238E27FC236}">
                  <a16:creationId xmlns:a16="http://schemas.microsoft.com/office/drawing/2014/main" id="{5F0C96D1-A8B7-4C8E-9997-D823FD1591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18434" y="3985"/>
              <a:ext cx="9747620" cy="6858000"/>
            </a:xfrm>
            <a:custGeom>
              <a:avLst/>
              <a:gdLst>
                <a:gd name="connsiteX0" fmla="*/ 7235453 w 9747620"/>
                <a:gd name="connsiteY0" fmla="*/ 0 h 6858000"/>
                <a:gd name="connsiteX1" fmla="*/ 7548130 w 9747620"/>
                <a:gd name="connsiteY1" fmla="*/ 0 h 6858000"/>
                <a:gd name="connsiteX2" fmla="*/ 7710334 w 9747620"/>
                <a:gd name="connsiteY2" fmla="*/ 111973 h 6858000"/>
                <a:gd name="connsiteX3" fmla="*/ 7889188 w 9747620"/>
                <a:gd name="connsiteY3" fmla="*/ 251542 h 6858000"/>
                <a:gd name="connsiteX4" fmla="*/ 8061828 w 9747620"/>
                <a:gd name="connsiteY4" fmla="*/ 398586 h 6858000"/>
                <a:gd name="connsiteX5" fmla="*/ 8145637 w 9747620"/>
                <a:gd name="connsiteY5" fmla="*/ 474218 h 6858000"/>
                <a:gd name="connsiteX6" fmla="*/ 8187242 w 9747620"/>
                <a:gd name="connsiteY6" fmla="*/ 512753 h 6858000"/>
                <a:gd name="connsiteX7" fmla="*/ 8228402 w 9747620"/>
                <a:gd name="connsiteY7" fmla="*/ 551575 h 6858000"/>
                <a:gd name="connsiteX8" fmla="*/ 8389211 w 9747620"/>
                <a:gd name="connsiteY8" fmla="*/ 710937 h 6858000"/>
                <a:gd name="connsiteX9" fmla="*/ 8467206 w 9747620"/>
                <a:gd name="connsiteY9" fmla="*/ 793088 h 6858000"/>
                <a:gd name="connsiteX10" fmla="*/ 8486791 w 9747620"/>
                <a:gd name="connsiteY10" fmla="*/ 814223 h 6858000"/>
                <a:gd name="connsiteX11" fmla="*/ 8505979 w 9747620"/>
                <a:gd name="connsiteY11" fmla="*/ 835409 h 6858000"/>
                <a:gd name="connsiteX12" fmla="*/ 8543509 w 9747620"/>
                <a:gd name="connsiteY12" fmla="*/ 877346 h 6858000"/>
                <a:gd name="connsiteX13" fmla="*/ 8690549 w 9747620"/>
                <a:gd name="connsiteY13" fmla="*/ 1048978 h 6858000"/>
                <a:gd name="connsiteX14" fmla="*/ 8761732 w 9747620"/>
                <a:gd name="connsiteY14" fmla="*/ 1137502 h 6858000"/>
                <a:gd name="connsiteX15" fmla="*/ 8796379 w 9747620"/>
                <a:gd name="connsiteY15" fmla="*/ 1182077 h 6858000"/>
                <a:gd name="connsiteX16" fmla="*/ 8830678 w 9747620"/>
                <a:gd name="connsiteY16" fmla="*/ 1226986 h 6858000"/>
                <a:gd name="connsiteX17" fmla="*/ 8963353 w 9747620"/>
                <a:gd name="connsiteY17" fmla="*/ 1410936 h 6858000"/>
                <a:gd name="connsiteX18" fmla="*/ 9026483 w 9747620"/>
                <a:gd name="connsiteY18" fmla="*/ 1505499 h 6858000"/>
                <a:gd name="connsiteX19" fmla="*/ 9057004 w 9747620"/>
                <a:gd name="connsiteY19" fmla="*/ 1552613 h 6858000"/>
                <a:gd name="connsiteX20" fmla="*/ 9087278 w 9747620"/>
                <a:gd name="connsiteY20" fmla="*/ 1600542 h 6858000"/>
                <a:gd name="connsiteX21" fmla="*/ 9202851 w 9747620"/>
                <a:gd name="connsiteY21" fmla="*/ 1795515 h 6858000"/>
                <a:gd name="connsiteX22" fmla="*/ 9257332 w 9747620"/>
                <a:gd name="connsiteY22" fmla="*/ 1894920 h 6858000"/>
                <a:gd name="connsiteX23" fmla="*/ 9283778 w 9747620"/>
                <a:gd name="connsiteY23" fmla="*/ 1945436 h 6858000"/>
                <a:gd name="connsiteX24" fmla="*/ 9309428 w 9747620"/>
                <a:gd name="connsiteY24" fmla="*/ 1996193 h 6858000"/>
                <a:gd name="connsiteX25" fmla="*/ 9405714 w 9747620"/>
                <a:gd name="connsiteY25" fmla="*/ 2202191 h 6858000"/>
                <a:gd name="connsiteX26" fmla="*/ 9566524 w 9747620"/>
                <a:gd name="connsiteY26" fmla="*/ 2627653 h 6858000"/>
                <a:gd name="connsiteX27" fmla="*/ 9583573 w 9747620"/>
                <a:gd name="connsiteY27" fmla="*/ 2682195 h 6858000"/>
                <a:gd name="connsiteX28" fmla="*/ 9591974 w 9747620"/>
                <a:gd name="connsiteY28" fmla="*/ 2709707 h 6858000"/>
                <a:gd name="connsiteX29" fmla="*/ 9600027 w 9747620"/>
                <a:gd name="connsiteY29" fmla="*/ 2737650 h 6858000"/>
                <a:gd name="connsiteX30" fmla="*/ 9629803 w 9747620"/>
                <a:gd name="connsiteY30" fmla="*/ 2847694 h 6858000"/>
                <a:gd name="connsiteX31" fmla="*/ 9679909 w 9747620"/>
                <a:gd name="connsiteY31" fmla="*/ 3070131 h 6858000"/>
                <a:gd name="connsiteX32" fmla="*/ 9690498 w 9747620"/>
                <a:gd name="connsiteY32" fmla="*/ 3126159 h 6858000"/>
                <a:gd name="connsiteX33" fmla="*/ 9700390 w 9747620"/>
                <a:gd name="connsiteY33" fmla="*/ 3181805 h 6858000"/>
                <a:gd name="connsiteX34" fmla="*/ 9709685 w 9747620"/>
                <a:gd name="connsiteY34" fmla="*/ 3243392 h 6858000"/>
                <a:gd name="connsiteX35" fmla="*/ 9713016 w 9747620"/>
                <a:gd name="connsiteY35" fmla="*/ 3267597 h 6858000"/>
                <a:gd name="connsiteX36" fmla="*/ 9716844 w 9747620"/>
                <a:gd name="connsiteY36" fmla="*/ 3294437 h 6858000"/>
                <a:gd name="connsiteX37" fmla="*/ 9720820 w 9747620"/>
                <a:gd name="connsiteY37" fmla="*/ 3324488 h 6858000"/>
                <a:gd name="connsiteX38" fmla="*/ 9722709 w 9747620"/>
                <a:gd name="connsiteY38" fmla="*/ 3340737 h 6858000"/>
                <a:gd name="connsiteX39" fmla="*/ 9724301 w 9747620"/>
                <a:gd name="connsiteY39" fmla="*/ 3356361 h 6858000"/>
                <a:gd name="connsiteX40" fmla="*/ 9730166 w 9747620"/>
                <a:gd name="connsiteY40" fmla="*/ 3412197 h 6858000"/>
                <a:gd name="connsiteX41" fmla="*/ 9735783 w 9747620"/>
                <a:gd name="connsiteY41" fmla="*/ 3468083 h 6858000"/>
                <a:gd name="connsiteX42" fmla="*/ 9739760 w 9747620"/>
                <a:gd name="connsiteY42" fmla="*/ 3524399 h 6858000"/>
                <a:gd name="connsiteX43" fmla="*/ 9741748 w 9747620"/>
                <a:gd name="connsiteY43" fmla="*/ 3552580 h 6858000"/>
                <a:gd name="connsiteX44" fmla="*/ 9742742 w 9747620"/>
                <a:gd name="connsiteY44" fmla="*/ 3566672 h 6858000"/>
                <a:gd name="connsiteX45" fmla="*/ 9743488 w 9747620"/>
                <a:gd name="connsiteY45" fmla="*/ 3581865 h 6858000"/>
                <a:gd name="connsiteX46" fmla="*/ 9744731 w 9747620"/>
                <a:gd name="connsiteY46" fmla="*/ 3611341 h 6858000"/>
                <a:gd name="connsiteX47" fmla="*/ 9745725 w 9747620"/>
                <a:gd name="connsiteY47" fmla="*/ 3639715 h 6858000"/>
                <a:gd name="connsiteX48" fmla="*/ 9747613 w 9747620"/>
                <a:gd name="connsiteY48" fmla="*/ 3753786 h 6858000"/>
                <a:gd name="connsiteX49" fmla="*/ 9740405 w 9747620"/>
                <a:gd name="connsiteY49" fmla="*/ 3984609 h 6858000"/>
                <a:gd name="connsiteX50" fmla="*/ 9736329 w 9747620"/>
                <a:gd name="connsiteY50" fmla="*/ 4038434 h 6858000"/>
                <a:gd name="connsiteX51" fmla="*/ 9731408 w 9747620"/>
                <a:gd name="connsiteY51" fmla="*/ 4099446 h 6858000"/>
                <a:gd name="connsiteX52" fmla="*/ 9717987 w 9747620"/>
                <a:gd name="connsiteY52" fmla="*/ 4213325 h 6858000"/>
                <a:gd name="connsiteX53" fmla="*/ 9716297 w 9747620"/>
                <a:gd name="connsiteY53" fmla="*/ 4227129 h 6858000"/>
                <a:gd name="connsiteX54" fmla="*/ 9714110 w 9747620"/>
                <a:gd name="connsiteY54" fmla="*/ 4240981 h 6858000"/>
                <a:gd name="connsiteX55" fmla="*/ 9709785 w 9747620"/>
                <a:gd name="connsiteY55" fmla="*/ 4268731 h 6858000"/>
                <a:gd name="connsiteX56" fmla="*/ 9701086 w 9747620"/>
                <a:gd name="connsiteY56" fmla="*/ 4324185 h 6858000"/>
                <a:gd name="connsiteX57" fmla="*/ 9698699 w 9747620"/>
                <a:gd name="connsiteY57" fmla="*/ 4338994 h 6858000"/>
                <a:gd name="connsiteX58" fmla="*/ 9695966 w 9747620"/>
                <a:gd name="connsiteY58" fmla="*/ 4355050 h 6858000"/>
                <a:gd name="connsiteX59" fmla="*/ 9690299 w 9747620"/>
                <a:gd name="connsiteY59" fmla="*/ 4385054 h 6858000"/>
                <a:gd name="connsiteX60" fmla="*/ 9679909 w 9747620"/>
                <a:gd name="connsiteY60" fmla="*/ 4437919 h 6858000"/>
                <a:gd name="connsiteX61" fmla="*/ 9673647 w 9747620"/>
                <a:gd name="connsiteY61" fmla="*/ 4468162 h 6858000"/>
                <a:gd name="connsiteX62" fmla="*/ 9667532 w 9747620"/>
                <a:gd name="connsiteY62" fmla="*/ 4496296 h 6858000"/>
                <a:gd name="connsiteX63" fmla="*/ 9654658 w 9747620"/>
                <a:gd name="connsiteY63" fmla="*/ 4552277 h 6858000"/>
                <a:gd name="connsiteX64" fmla="*/ 9625876 w 9747620"/>
                <a:gd name="connsiteY64" fmla="*/ 4664478 h 6858000"/>
                <a:gd name="connsiteX65" fmla="*/ 9552803 w 9747620"/>
                <a:gd name="connsiteY65" fmla="*/ 4888737 h 6858000"/>
                <a:gd name="connsiteX66" fmla="*/ 9452639 w 9747620"/>
                <a:gd name="connsiteY66" fmla="*/ 5110934 h 6858000"/>
                <a:gd name="connsiteX67" fmla="*/ 9388017 w 9747620"/>
                <a:gd name="connsiteY67" fmla="*/ 5220020 h 6858000"/>
                <a:gd name="connsiteX68" fmla="*/ 9370073 w 9747620"/>
                <a:gd name="connsiteY68" fmla="*/ 5246811 h 6858000"/>
                <a:gd name="connsiteX69" fmla="*/ 9360926 w 9747620"/>
                <a:gd name="connsiteY69" fmla="*/ 5260040 h 6858000"/>
                <a:gd name="connsiteX70" fmla="*/ 9351829 w 9747620"/>
                <a:gd name="connsiteY70" fmla="*/ 5272646 h 6858000"/>
                <a:gd name="connsiteX71" fmla="*/ 9313305 w 9747620"/>
                <a:gd name="connsiteY71" fmla="*/ 5323881 h 6858000"/>
                <a:gd name="connsiteX72" fmla="*/ 9130375 w 9747620"/>
                <a:gd name="connsiteY72" fmla="*/ 5510802 h 6858000"/>
                <a:gd name="connsiteX73" fmla="*/ 9028422 w 9747620"/>
                <a:gd name="connsiteY73" fmla="*/ 5588878 h 6858000"/>
                <a:gd name="connsiteX74" fmla="*/ 9002424 w 9747620"/>
                <a:gd name="connsiteY74" fmla="*/ 5606707 h 6858000"/>
                <a:gd name="connsiteX75" fmla="*/ 8976525 w 9747620"/>
                <a:gd name="connsiteY75" fmla="*/ 5623866 h 6858000"/>
                <a:gd name="connsiteX76" fmla="*/ 8924181 w 9747620"/>
                <a:gd name="connsiteY76" fmla="*/ 5656793 h 6858000"/>
                <a:gd name="connsiteX77" fmla="*/ 8717291 w 9747620"/>
                <a:gd name="connsiteY77" fmla="*/ 5771582 h 6858000"/>
                <a:gd name="connsiteX78" fmla="*/ 8617129 w 9747620"/>
                <a:gd name="connsiteY78" fmla="*/ 5823105 h 6858000"/>
                <a:gd name="connsiteX79" fmla="*/ 8518207 w 9747620"/>
                <a:gd name="connsiteY79" fmla="*/ 5873671 h 6858000"/>
                <a:gd name="connsiteX80" fmla="*/ 8150558 w 9747620"/>
                <a:gd name="connsiteY80" fmla="*/ 6086761 h 6858000"/>
                <a:gd name="connsiteX81" fmla="*/ 7979410 w 9747620"/>
                <a:gd name="connsiteY81" fmla="*/ 6207158 h 6858000"/>
                <a:gd name="connsiteX82" fmla="*/ 7938300 w 9747620"/>
                <a:gd name="connsiteY82" fmla="*/ 6238887 h 6858000"/>
                <a:gd name="connsiteX83" fmla="*/ 7897936 w 9747620"/>
                <a:gd name="connsiteY83" fmla="*/ 6271286 h 6858000"/>
                <a:gd name="connsiteX84" fmla="*/ 7858367 w 9747620"/>
                <a:gd name="connsiteY84" fmla="*/ 6304357 h 6858000"/>
                <a:gd name="connsiteX85" fmla="*/ 7819048 w 9747620"/>
                <a:gd name="connsiteY85" fmla="*/ 6338770 h 6858000"/>
                <a:gd name="connsiteX86" fmla="*/ 7778882 w 9747620"/>
                <a:gd name="connsiteY86" fmla="*/ 6374477 h 6858000"/>
                <a:gd name="connsiteX87" fmla="*/ 7739563 w 9747620"/>
                <a:gd name="connsiteY87" fmla="*/ 6410328 h 6858000"/>
                <a:gd name="connsiteX88" fmla="*/ 7660824 w 9747620"/>
                <a:gd name="connsiteY88" fmla="*/ 6484138 h 6858000"/>
                <a:gd name="connsiteX89" fmla="*/ 7502302 w 9747620"/>
                <a:gd name="connsiteY89" fmla="*/ 6636360 h 6858000"/>
                <a:gd name="connsiteX90" fmla="*/ 7273394 w 9747620"/>
                <a:gd name="connsiteY90" fmla="*/ 6858000 h 6858000"/>
                <a:gd name="connsiteX91" fmla="*/ 6780690 w 9747620"/>
                <a:gd name="connsiteY91" fmla="*/ 6858000 h 6858000"/>
                <a:gd name="connsiteX92" fmla="*/ 6854939 w 9747620"/>
                <a:gd name="connsiteY92" fmla="*/ 6783597 h 6858000"/>
                <a:gd name="connsiteX93" fmla="*/ 6932087 w 9747620"/>
                <a:gd name="connsiteY93" fmla="*/ 6705809 h 6858000"/>
                <a:gd name="connsiteX94" fmla="*/ 7241130 w 9747620"/>
                <a:gd name="connsiteY94" fmla="*/ 6390965 h 6858000"/>
                <a:gd name="connsiteX95" fmla="*/ 7397564 w 9747620"/>
                <a:gd name="connsiteY95" fmla="*/ 6233087 h 6858000"/>
                <a:gd name="connsiteX96" fmla="*/ 7478142 w 9747620"/>
                <a:gd name="connsiteY96" fmla="*/ 6153670 h 6858000"/>
                <a:gd name="connsiteX97" fmla="*/ 7519600 w 9747620"/>
                <a:gd name="connsiteY97" fmla="*/ 6113937 h 6858000"/>
                <a:gd name="connsiteX98" fmla="*/ 7561207 w 9747620"/>
                <a:gd name="connsiteY98" fmla="*/ 6075067 h 6858000"/>
                <a:gd name="connsiteX99" fmla="*/ 7604204 w 9747620"/>
                <a:gd name="connsiteY99" fmla="*/ 6035526 h 6858000"/>
                <a:gd name="connsiteX100" fmla="*/ 7648644 w 9747620"/>
                <a:gd name="connsiteY100" fmla="*/ 5996416 h 6858000"/>
                <a:gd name="connsiteX101" fmla="*/ 7693830 w 9747620"/>
                <a:gd name="connsiteY101" fmla="*/ 5958264 h 6858000"/>
                <a:gd name="connsiteX102" fmla="*/ 7739662 w 9747620"/>
                <a:gd name="connsiteY102" fmla="*/ 5921073 h 6858000"/>
                <a:gd name="connsiteX103" fmla="*/ 7928458 w 9747620"/>
                <a:gd name="connsiteY103" fmla="*/ 5781025 h 6858000"/>
                <a:gd name="connsiteX104" fmla="*/ 8325882 w 9747620"/>
                <a:gd name="connsiteY104" fmla="*/ 5537450 h 6858000"/>
                <a:gd name="connsiteX105" fmla="*/ 8424555 w 9747620"/>
                <a:gd name="connsiteY105" fmla="*/ 5484106 h 6858000"/>
                <a:gd name="connsiteX106" fmla="*/ 8521737 w 9747620"/>
                <a:gd name="connsiteY106" fmla="*/ 5431289 h 6858000"/>
                <a:gd name="connsiteX107" fmla="*/ 8702677 w 9747620"/>
                <a:gd name="connsiteY107" fmla="*/ 5325942 h 6858000"/>
                <a:gd name="connsiteX108" fmla="*/ 8743986 w 9747620"/>
                <a:gd name="connsiteY108" fmla="*/ 5298717 h 6858000"/>
                <a:gd name="connsiteX109" fmla="*/ 8764167 w 9747620"/>
                <a:gd name="connsiteY109" fmla="*/ 5284723 h 6858000"/>
                <a:gd name="connsiteX110" fmla="*/ 8783704 w 9747620"/>
                <a:gd name="connsiteY110" fmla="*/ 5270679 h 6858000"/>
                <a:gd name="connsiteX111" fmla="*/ 8856776 w 9747620"/>
                <a:gd name="connsiteY111" fmla="*/ 5212399 h 6858000"/>
                <a:gd name="connsiteX112" fmla="*/ 8979856 w 9747620"/>
                <a:gd name="connsiteY112" fmla="*/ 5082081 h 6858000"/>
                <a:gd name="connsiteX113" fmla="*/ 9006699 w 9747620"/>
                <a:gd name="connsiteY113" fmla="*/ 5044984 h 6858000"/>
                <a:gd name="connsiteX114" fmla="*/ 9013509 w 9747620"/>
                <a:gd name="connsiteY114" fmla="*/ 5035254 h 6858000"/>
                <a:gd name="connsiteX115" fmla="*/ 9019773 w 9747620"/>
                <a:gd name="connsiteY115" fmla="*/ 5025812 h 6858000"/>
                <a:gd name="connsiteX116" fmla="*/ 9032050 w 9747620"/>
                <a:gd name="connsiteY116" fmla="*/ 5006833 h 6858000"/>
                <a:gd name="connsiteX117" fmla="*/ 9077733 w 9747620"/>
                <a:gd name="connsiteY117" fmla="*/ 4926839 h 6858000"/>
                <a:gd name="connsiteX118" fmla="*/ 9154285 w 9747620"/>
                <a:gd name="connsiteY118" fmla="*/ 4750223 h 6858000"/>
                <a:gd name="connsiteX119" fmla="*/ 9213936 w 9747620"/>
                <a:gd name="connsiteY119" fmla="*/ 4559945 h 6858000"/>
                <a:gd name="connsiteX120" fmla="*/ 9238592 w 9747620"/>
                <a:gd name="connsiteY120" fmla="*/ 4461357 h 6858000"/>
                <a:gd name="connsiteX121" fmla="*/ 9249776 w 9747620"/>
                <a:gd name="connsiteY121" fmla="*/ 4411319 h 6858000"/>
                <a:gd name="connsiteX122" fmla="*/ 9255046 w 9747620"/>
                <a:gd name="connsiteY122" fmla="*/ 4386299 h 6858000"/>
                <a:gd name="connsiteX123" fmla="*/ 9259718 w 9747620"/>
                <a:gd name="connsiteY123" fmla="*/ 4363342 h 6858000"/>
                <a:gd name="connsiteX124" fmla="*/ 9269959 w 9747620"/>
                <a:gd name="connsiteY124" fmla="*/ 4309566 h 6858000"/>
                <a:gd name="connsiteX125" fmla="*/ 9274233 w 9747620"/>
                <a:gd name="connsiteY125" fmla="*/ 4286176 h 6858000"/>
                <a:gd name="connsiteX126" fmla="*/ 9276022 w 9747620"/>
                <a:gd name="connsiteY126" fmla="*/ 4275489 h 6858000"/>
                <a:gd name="connsiteX127" fmla="*/ 9277861 w 9747620"/>
                <a:gd name="connsiteY127" fmla="*/ 4263506 h 6858000"/>
                <a:gd name="connsiteX128" fmla="*/ 9286014 w 9747620"/>
                <a:gd name="connsiteY128" fmla="*/ 4211696 h 6858000"/>
                <a:gd name="connsiteX129" fmla="*/ 9290092 w 9747620"/>
                <a:gd name="connsiteY129" fmla="*/ 4185767 h 6858000"/>
                <a:gd name="connsiteX130" fmla="*/ 9292128 w 9747620"/>
                <a:gd name="connsiteY130" fmla="*/ 4172826 h 6858000"/>
                <a:gd name="connsiteX131" fmla="*/ 9293720 w 9747620"/>
                <a:gd name="connsiteY131" fmla="*/ 4159693 h 6858000"/>
                <a:gd name="connsiteX132" fmla="*/ 9305650 w 9747620"/>
                <a:gd name="connsiteY132" fmla="*/ 4057941 h 6858000"/>
                <a:gd name="connsiteX133" fmla="*/ 9309378 w 9747620"/>
                <a:gd name="connsiteY133" fmla="*/ 4010779 h 6858000"/>
                <a:gd name="connsiteX134" fmla="*/ 9313454 w 9747620"/>
                <a:gd name="connsiteY134" fmla="*/ 3956428 h 6858000"/>
                <a:gd name="connsiteX135" fmla="*/ 9320811 w 9747620"/>
                <a:gd name="connsiteY135" fmla="*/ 3753546 h 6858000"/>
                <a:gd name="connsiteX136" fmla="*/ 9319617 w 9747620"/>
                <a:gd name="connsiteY136" fmla="*/ 3650643 h 6858000"/>
                <a:gd name="connsiteX137" fmla="*/ 9318176 w 9747620"/>
                <a:gd name="connsiteY137" fmla="*/ 3600030 h 6858000"/>
                <a:gd name="connsiteX138" fmla="*/ 9317778 w 9747620"/>
                <a:gd name="connsiteY138" fmla="*/ 3588096 h 6858000"/>
                <a:gd name="connsiteX139" fmla="*/ 9316983 w 9747620"/>
                <a:gd name="connsiteY139" fmla="*/ 3575107 h 6858000"/>
                <a:gd name="connsiteX140" fmla="*/ 9315443 w 9747620"/>
                <a:gd name="connsiteY140" fmla="*/ 3549130 h 6858000"/>
                <a:gd name="connsiteX141" fmla="*/ 9312311 w 9747620"/>
                <a:gd name="connsiteY141" fmla="*/ 3497176 h 6858000"/>
                <a:gd name="connsiteX142" fmla="*/ 9307587 w 9747620"/>
                <a:gd name="connsiteY142" fmla="*/ 3445029 h 6858000"/>
                <a:gd name="connsiteX143" fmla="*/ 9302618 w 9747620"/>
                <a:gd name="connsiteY143" fmla="*/ 3392835 h 6858000"/>
                <a:gd name="connsiteX144" fmla="*/ 9301574 w 9747620"/>
                <a:gd name="connsiteY144" fmla="*/ 3381476 h 6858000"/>
                <a:gd name="connsiteX145" fmla="*/ 9300430 w 9747620"/>
                <a:gd name="connsiteY145" fmla="*/ 3370740 h 6858000"/>
                <a:gd name="connsiteX146" fmla="*/ 9297547 w 9747620"/>
                <a:gd name="connsiteY146" fmla="*/ 3346966 h 6858000"/>
                <a:gd name="connsiteX147" fmla="*/ 9294017 w 9747620"/>
                <a:gd name="connsiteY147" fmla="*/ 3320030 h 6858000"/>
                <a:gd name="connsiteX148" fmla="*/ 9290439 w 9747620"/>
                <a:gd name="connsiteY148" fmla="*/ 3290410 h 6858000"/>
                <a:gd name="connsiteX149" fmla="*/ 9284275 w 9747620"/>
                <a:gd name="connsiteY149" fmla="*/ 3244544 h 6858000"/>
                <a:gd name="connsiteX150" fmla="*/ 9275974 w 9747620"/>
                <a:gd name="connsiteY150" fmla="*/ 3193116 h 6858000"/>
                <a:gd name="connsiteX151" fmla="*/ 9267224 w 9747620"/>
                <a:gd name="connsiteY151" fmla="*/ 3142264 h 6858000"/>
                <a:gd name="connsiteX152" fmla="*/ 9225320 w 9747620"/>
                <a:gd name="connsiteY152" fmla="*/ 2939909 h 6858000"/>
                <a:gd name="connsiteX153" fmla="*/ 9200466 w 9747620"/>
                <a:gd name="connsiteY153" fmla="*/ 2839449 h 6858000"/>
                <a:gd name="connsiteX154" fmla="*/ 9193953 w 9747620"/>
                <a:gd name="connsiteY154" fmla="*/ 2814958 h 6858000"/>
                <a:gd name="connsiteX155" fmla="*/ 9186993 w 9747620"/>
                <a:gd name="connsiteY155" fmla="*/ 2790276 h 6858000"/>
                <a:gd name="connsiteX156" fmla="*/ 9172628 w 9747620"/>
                <a:gd name="connsiteY156" fmla="*/ 2740621 h 6858000"/>
                <a:gd name="connsiteX157" fmla="*/ 9035082 w 9747620"/>
                <a:gd name="connsiteY157" fmla="*/ 2347463 h 6858000"/>
                <a:gd name="connsiteX158" fmla="*/ 8952118 w 9747620"/>
                <a:gd name="connsiteY158" fmla="*/ 2155413 h 6858000"/>
                <a:gd name="connsiteX159" fmla="*/ 8929948 w 9747620"/>
                <a:gd name="connsiteY159" fmla="*/ 2107915 h 6858000"/>
                <a:gd name="connsiteX160" fmla="*/ 8907429 w 9747620"/>
                <a:gd name="connsiteY160" fmla="*/ 2060753 h 6858000"/>
                <a:gd name="connsiteX161" fmla="*/ 8860404 w 9747620"/>
                <a:gd name="connsiteY161" fmla="*/ 1966478 h 6858000"/>
                <a:gd name="connsiteX162" fmla="*/ 8760788 w 9747620"/>
                <a:gd name="connsiteY162" fmla="*/ 1780274 h 6858000"/>
                <a:gd name="connsiteX163" fmla="*/ 8734740 w 9747620"/>
                <a:gd name="connsiteY163" fmla="*/ 1734311 h 6858000"/>
                <a:gd name="connsiteX164" fmla="*/ 8708046 w 9747620"/>
                <a:gd name="connsiteY164" fmla="*/ 1687963 h 6858000"/>
                <a:gd name="connsiteX165" fmla="*/ 8654062 w 9747620"/>
                <a:gd name="connsiteY165" fmla="*/ 1597234 h 6858000"/>
                <a:gd name="connsiteX166" fmla="*/ 8540278 w 9747620"/>
                <a:gd name="connsiteY166" fmla="*/ 1418077 h 6858000"/>
                <a:gd name="connsiteX167" fmla="*/ 8510701 w 9747620"/>
                <a:gd name="connsiteY167" fmla="*/ 1373695 h 6858000"/>
                <a:gd name="connsiteX168" fmla="*/ 8480676 w 9747620"/>
                <a:gd name="connsiteY168" fmla="*/ 1329457 h 6858000"/>
                <a:gd name="connsiteX169" fmla="*/ 8419782 w 9747620"/>
                <a:gd name="connsiteY169" fmla="*/ 1242275 h 6858000"/>
                <a:gd name="connsiteX170" fmla="*/ 8292478 w 9747620"/>
                <a:gd name="connsiteY170" fmla="*/ 1069875 h 6858000"/>
                <a:gd name="connsiteX171" fmla="*/ 8259620 w 9747620"/>
                <a:gd name="connsiteY171" fmla="*/ 1027123 h 6858000"/>
                <a:gd name="connsiteX172" fmla="*/ 8243416 w 9747620"/>
                <a:gd name="connsiteY172" fmla="*/ 1006130 h 6858000"/>
                <a:gd name="connsiteX173" fmla="*/ 8227110 w 9747620"/>
                <a:gd name="connsiteY173" fmla="*/ 985473 h 6858000"/>
                <a:gd name="connsiteX174" fmla="*/ 8159604 w 9747620"/>
                <a:gd name="connsiteY174" fmla="*/ 902029 h 6858000"/>
                <a:gd name="connsiteX175" fmla="*/ 8020022 w 9747620"/>
                <a:gd name="connsiteY175" fmla="*/ 738209 h 6858000"/>
                <a:gd name="connsiteX176" fmla="*/ 7984182 w 9747620"/>
                <a:gd name="connsiteY176" fmla="*/ 697901 h 6858000"/>
                <a:gd name="connsiteX177" fmla="*/ 7948043 w 9747620"/>
                <a:gd name="connsiteY177" fmla="*/ 657976 h 6858000"/>
                <a:gd name="connsiteX178" fmla="*/ 7874324 w 9747620"/>
                <a:gd name="connsiteY178" fmla="*/ 578607 h 6858000"/>
                <a:gd name="connsiteX179" fmla="*/ 7723308 w 9747620"/>
                <a:gd name="connsiteY179" fmla="*/ 424085 h 6858000"/>
                <a:gd name="connsiteX180" fmla="*/ 7565532 w 9747620"/>
                <a:gd name="connsiteY180" fmla="*/ 275602 h 6858000"/>
                <a:gd name="connsiteX181" fmla="*/ 1832515 w 9747620"/>
                <a:gd name="connsiteY181" fmla="*/ 0 h 6858000"/>
                <a:gd name="connsiteX182" fmla="*/ 2158449 w 9747620"/>
                <a:gd name="connsiteY182" fmla="*/ 0 h 6858000"/>
                <a:gd name="connsiteX183" fmla="*/ 2108797 w 9747620"/>
                <a:gd name="connsiteY183" fmla="*/ 37845 h 6858000"/>
                <a:gd name="connsiteX184" fmla="*/ 1942830 w 9747620"/>
                <a:gd name="connsiteY184" fmla="*/ 177587 h 6858000"/>
                <a:gd name="connsiteX185" fmla="*/ 1633191 w 9747620"/>
                <a:gd name="connsiteY185" fmla="*/ 477909 h 6858000"/>
                <a:gd name="connsiteX186" fmla="*/ 702686 w 9747620"/>
                <a:gd name="connsiteY186" fmla="*/ 1889935 h 6858000"/>
                <a:gd name="connsiteX187" fmla="*/ 551769 w 9747620"/>
                <a:gd name="connsiteY187" fmla="*/ 2281416 h 6858000"/>
                <a:gd name="connsiteX188" fmla="*/ 438383 w 9747620"/>
                <a:gd name="connsiteY188" fmla="*/ 2682772 h 6858000"/>
                <a:gd name="connsiteX189" fmla="*/ 397124 w 9747620"/>
                <a:gd name="connsiteY189" fmla="*/ 2887044 h 6858000"/>
                <a:gd name="connsiteX190" fmla="*/ 365658 w 9747620"/>
                <a:gd name="connsiteY190" fmla="*/ 3093424 h 6858000"/>
                <a:gd name="connsiteX191" fmla="*/ 332105 w 9747620"/>
                <a:gd name="connsiteY191" fmla="*/ 3509828 h 6858000"/>
                <a:gd name="connsiteX192" fmla="*/ 383653 w 9747620"/>
                <a:gd name="connsiteY192" fmla="*/ 4346327 h 6858000"/>
                <a:gd name="connsiteX193" fmla="*/ 422327 w 9747620"/>
                <a:gd name="connsiteY193" fmla="*/ 4552900 h 6858000"/>
                <a:gd name="connsiteX194" fmla="*/ 472184 w 9747620"/>
                <a:gd name="connsiteY194" fmla="*/ 4757939 h 6858000"/>
                <a:gd name="connsiteX195" fmla="*/ 533078 w 9747620"/>
                <a:gd name="connsiteY195" fmla="*/ 4960916 h 6858000"/>
                <a:gd name="connsiteX196" fmla="*/ 604710 w 9747620"/>
                <a:gd name="connsiteY196" fmla="*/ 5160875 h 6858000"/>
                <a:gd name="connsiteX197" fmla="*/ 996766 w 9747620"/>
                <a:gd name="connsiteY197" fmla="*/ 5920640 h 6858000"/>
                <a:gd name="connsiteX198" fmla="*/ 1549183 w 9747620"/>
                <a:gd name="connsiteY198" fmla="*/ 6586417 h 6858000"/>
                <a:gd name="connsiteX199" fmla="*/ 1709890 w 9747620"/>
                <a:gd name="connsiteY199" fmla="*/ 6734063 h 6858000"/>
                <a:gd name="connsiteX200" fmla="*/ 1859761 w 9747620"/>
                <a:gd name="connsiteY200" fmla="*/ 6858000 h 6858000"/>
                <a:gd name="connsiteX201" fmla="*/ 1671798 w 9747620"/>
                <a:gd name="connsiteY201" fmla="*/ 6858000 h 6858000"/>
                <a:gd name="connsiteX202" fmla="*/ 1628044 w 9747620"/>
                <a:gd name="connsiteY202" fmla="*/ 6822717 h 6858000"/>
                <a:gd name="connsiteX203" fmla="*/ 1459756 w 9747620"/>
                <a:gd name="connsiteY203" fmla="*/ 6674223 h 6858000"/>
                <a:gd name="connsiteX204" fmla="*/ 402543 w 9747620"/>
                <a:gd name="connsiteY204" fmla="*/ 5241588 h 6858000"/>
                <a:gd name="connsiteX205" fmla="*/ 311923 w 9747620"/>
                <a:gd name="connsiteY205" fmla="*/ 5036741 h 6858000"/>
                <a:gd name="connsiteX206" fmla="*/ 232140 w 9747620"/>
                <a:gd name="connsiteY206" fmla="*/ 4827483 h 6858000"/>
                <a:gd name="connsiteX207" fmla="*/ 163392 w 9747620"/>
                <a:gd name="connsiteY207" fmla="*/ 4613913 h 6858000"/>
                <a:gd name="connsiteX208" fmla="*/ 106823 w 9747620"/>
                <a:gd name="connsiteY208" fmla="*/ 4396365 h 6858000"/>
                <a:gd name="connsiteX209" fmla="*/ 29326 w 9747620"/>
                <a:gd name="connsiteY209" fmla="*/ 3954702 h 6858000"/>
                <a:gd name="connsiteX210" fmla="*/ 8647 w 9747620"/>
                <a:gd name="connsiteY210" fmla="*/ 3730971 h 6858000"/>
                <a:gd name="connsiteX211" fmla="*/ 2880 w 9747620"/>
                <a:gd name="connsiteY211" fmla="*/ 3618674 h 6858000"/>
                <a:gd name="connsiteX212" fmla="*/ 296 w 9747620"/>
                <a:gd name="connsiteY212" fmla="*/ 3506425 h 6858000"/>
                <a:gd name="connsiteX213" fmla="*/ 20030 w 9747620"/>
                <a:gd name="connsiteY213" fmla="*/ 3056711 h 6858000"/>
                <a:gd name="connsiteX214" fmla="*/ 48664 w 9747620"/>
                <a:gd name="connsiteY214" fmla="*/ 2832980 h 6858000"/>
                <a:gd name="connsiteX215" fmla="*/ 89922 w 9747620"/>
                <a:gd name="connsiteY215" fmla="*/ 2610639 h 6858000"/>
                <a:gd name="connsiteX216" fmla="*/ 211163 w 9747620"/>
                <a:gd name="connsiteY216" fmla="*/ 2174343 h 6858000"/>
                <a:gd name="connsiteX217" fmla="*/ 379129 w 9747620"/>
                <a:gd name="connsiteY217" fmla="*/ 1754393 h 6858000"/>
                <a:gd name="connsiteX218" fmla="*/ 841424 w 9747620"/>
                <a:gd name="connsiteY218" fmla="*/ 976270 h 6858000"/>
                <a:gd name="connsiteX219" fmla="*/ 1130234 w 9747620"/>
                <a:gd name="connsiteY219" fmla="*/ 625768 h 6858000"/>
                <a:gd name="connsiteX220" fmla="*/ 1452897 w 9747620"/>
                <a:gd name="connsiteY220" fmla="*/ 305748 h 6858000"/>
                <a:gd name="connsiteX221" fmla="*/ 1805682 w 9747620"/>
                <a:gd name="connsiteY221" fmla="*/ 187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9747620" h="6858000">
                  <a:moveTo>
                    <a:pt x="7235453" y="0"/>
                  </a:moveTo>
                  <a:lnTo>
                    <a:pt x="7548130" y="0"/>
                  </a:lnTo>
                  <a:lnTo>
                    <a:pt x="7710334" y="111973"/>
                  </a:lnTo>
                  <a:cubicBezTo>
                    <a:pt x="7770781" y="157314"/>
                    <a:pt x="7830282" y="203517"/>
                    <a:pt x="7889188" y="251542"/>
                  </a:cubicBezTo>
                  <a:cubicBezTo>
                    <a:pt x="7947894" y="299470"/>
                    <a:pt x="8005557" y="348453"/>
                    <a:pt x="8061828" y="398586"/>
                  </a:cubicBezTo>
                  <a:cubicBezTo>
                    <a:pt x="8090013" y="423605"/>
                    <a:pt x="8117948" y="448816"/>
                    <a:pt x="8145637" y="474218"/>
                  </a:cubicBezTo>
                  <a:cubicBezTo>
                    <a:pt x="8159506" y="486918"/>
                    <a:pt x="8173375" y="499764"/>
                    <a:pt x="8187242" y="512753"/>
                  </a:cubicBezTo>
                  <a:lnTo>
                    <a:pt x="8228402" y="551575"/>
                  </a:lnTo>
                  <a:cubicBezTo>
                    <a:pt x="8283082" y="603577"/>
                    <a:pt x="8336569" y="656778"/>
                    <a:pt x="8389211" y="710937"/>
                  </a:cubicBezTo>
                  <a:cubicBezTo>
                    <a:pt x="8415458" y="738065"/>
                    <a:pt x="8441455" y="765432"/>
                    <a:pt x="8467206" y="793088"/>
                  </a:cubicBezTo>
                  <a:lnTo>
                    <a:pt x="8486791" y="814223"/>
                  </a:lnTo>
                  <a:lnTo>
                    <a:pt x="8505979" y="835409"/>
                  </a:lnTo>
                  <a:lnTo>
                    <a:pt x="8543509" y="877346"/>
                  </a:lnTo>
                  <a:cubicBezTo>
                    <a:pt x="8593418" y="933423"/>
                    <a:pt x="8642579" y="990601"/>
                    <a:pt x="8690549" y="1048978"/>
                  </a:cubicBezTo>
                  <a:cubicBezTo>
                    <a:pt x="8714558" y="1078168"/>
                    <a:pt x="8738368" y="1107644"/>
                    <a:pt x="8761732" y="1137502"/>
                  </a:cubicBezTo>
                  <a:lnTo>
                    <a:pt x="8796379" y="1182077"/>
                  </a:lnTo>
                  <a:lnTo>
                    <a:pt x="8830678" y="1226986"/>
                  </a:lnTo>
                  <a:cubicBezTo>
                    <a:pt x="8876112" y="1287185"/>
                    <a:pt x="8920304" y="1348532"/>
                    <a:pt x="8963353" y="1410936"/>
                  </a:cubicBezTo>
                  <a:cubicBezTo>
                    <a:pt x="8984727" y="1442137"/>
                    <a:pt x="9005954" y="1473915"/>
                    <a:pt x="9026483" y="1505499"/>
                  </a:cubicBezTo>
                  <a:lnTo>
                    <a:pt x="9057004" y="1552613"/>
                  </a:lnTo>
                  <a:cubicBezTo>
                    <a:pt x="9067245" y="1568525"/>
                    <a:pt x="9077336" y="1584534"/>
                    <a:pt x="9087278" y="1600542"/>
                  </a:cubicBezTo>
                  <a:cubicBezTo>
                    <a:pt x="9127145" y="1664766"/>
                    <a:pt x="9165966" y="1729613"/>
                    <a:pt x="9202851" y="1795515"/>
                  </a:cubicBezTo>
                  <a:cubicBezTo>
                    <a:pt x="9221342" y="1828491"/>
                    <a:pt x="9239437" y="1861417"/>
                    <a:pt x="9257332" y="1894920"/>
                  </a:cubicBezTo>
                  <a:lnTo>
                    <a:pt x="9283778" y="1945436"/>
                  </a:lnTo>
                  <a:lnTo>
                    <a:pt x="9309428" y="1996193"/>
                  </a:lnTo>
                  <a:cubicBezTo>
                    <a:pt x="9343280" y="2064013"/>
                    <a:pt x="9375491" y="2132695"/>
                    <a:pt x="9405714" y="2202191"/>
                  </a:cubicBezTo>
                  <a:cubicBezTo>
                    <a:pt x="9466260" y="2341183"/>
                    <a:pt x="9520493" y="2483053"/>
                    <a:pt x="9566524" y="2627653"/>
                  </a:cubicBezTo>
                  <a:cubicBezTo>
                    <a:pt x="9572289" y="2645675"/>
                    <a:pt x="9578056" y="2663792"/>
                    <a:pt x="9583573" y="2682195"/>
                  </a:cubicBezTo>
                  <a:lnTo>
                    <a:pt x="9591974" y="2709707"/>
                  </a:lnTo>
                  <a:lnTo>
                    <a:pt x="9600027" y="2737650"/>
                  </a:lnTo>
                  <a:cubicBezTo>
                    <a:pt x="9610416" y="2774171"/>
                    <a:pt x="9620358" y="2810884"/>
                    <a:pt x="9629803" y="2847694"/>
                  </a:cubicBezTo>
                  <a:cubicBezTo>
                    <a:pt x="9648692" y="2921312"/>
                    <a:pt x="9665196" y="2995506"/>
                    <a:pt x="9679909" y="3070131"/>
                  </a:cubicBezTo>
                  <a:cubicBezTo>
                    <a:pt x="9683587" y="3088775"/>
                    <a:pt x="9687118" y="3107418"/>
                    <a:pt x="9690498" y="3126159"/>
                  </a:cubicBezTo>
                  <a:lnTo>
                    <a:pt x="9700390" y="3181805"/>
                  </a:lnTo>
                  <a:cubicBezTo>
                    <a:pt x="9703670" y="3201120"/>
                    <a:pt x="9706952" y="3222112"/>
                    <a:pt x="9709685" y="3243392"/>
                  </a:cubicBezTo>
                  <a:lnTo>
                    <a:pt x="9713016" y="3267597"/>
                  </a:lnTo>
                  <a:lnTo>
                    <a:pt x="9716844" y="3294437"/>
                  </a:lnTo>
                  <a:cubicBezTo>
                    <a:pt x="9718186" y="3303926"/>
                    <a:pt x="9719527" y="3313895"/>
                    <a:pt x="9720820" y="3324488"/>
                  </a:cubicBezTo>
                  <a:lnTo>
                    <a:pt x="9722709" y="3340737"/>
                  </a:lnTo>
                  <a:lnTo>
                    <a:pt x="9724301" y="3356361"/>
                  </a:lnTo>
                  <a:lnTo>
                    <a:pt x="9730166" y="3412197"/>
                  </a:lnTo>
                  <a:cubicBezTo>
                    <a:pt x="9732005" y="3430842"/>
                    <a:pt x="9734291" y="3449342"/>
                    <a:pt x="9735783" y="3468083"/>
                  </a:cubicBezTo>
                  <a:lnTo>
                    <a:pt x="9739760" y="3524399"/>
                  </a:lnTo>
                  <a:lnTo>
                    <a:pt x="9741748" y="3552580"/>
                  </a:lnTo>
                  <a:lnTo>
                    <a:pt x="9742742" y="3566672"/>
                  </a:lnTo>
                  <a:lnTo>
                    <a:pt x="9743488" y="3581865"/>
                  </a:lnTo>
                  <a:lnTo>
                    <a:pt x="9744731" y="3611341"/>
                  </a:lnTo>
                  <a:lnTo>
                    <a:pt x="9745725" y="3639715"/>
                  </a:lnTo>
                  <a:cubicBezTo>
                    <a:pt x="9746868" y="3677579"/>
                    <a:pt x="9747514" y="3715587"/>
                    <a:pt x="9747613" y="3753786"/>
                  </a:cubicBezTo>
                  <a:cubicBezTo>
                    <a:pt x="9747763" y="3830232"/>
                    <a:pt x="9745675" y="3906870"/>
                    <a:pt x="9740405" y="3984609"/>
                  </a:cubicBezTo>
                  <a:lnTo>
                    <a:pt x="9736329" y="4038434"/>
                  </a:lnTo>
                  <a:cubicBezTo>
                    <a:pt x="9735087" y="4055976"/>
                    <a:pt x="9733794" y="4076346"/>
                    <a:pt x="9731408" y="4099446"/>
                  </a:cubicBezTo>
                  <a:lnTo>
                    <a:pt x="9717987" y="4213325"/>
                  </a:lnTo>
                  <a:cubicBezTo>
                    <a:pt x="9717441" y="4217926"/>
                    <a:pt x="9716943" y="4222527"/>
                    <a:pt x="9716297" y="4227129"/>
                  </a:cubicBezTo>
                  <a:lnTo>
                    <a:pt x="9714110" y="4240981"/>
                  </a:lnTo>
                  <a:lnTo>
                    <a:pt x="9709785" y="4268731"/>
                  </a:lnTo>
                  <a:lnTo>
                    <a:pt x="9701086" y="4324185"/>
                  </a:lnTo>
                  <a:lnTo>
                    <a:pt x="9698699" y="4338994"/>
                  </a:lnTo>
                  <a:lnTo>
                    <a:pt x="9695966" y="4355050"/>
                  </a:lnTo>
                  <a:cubicBezTo>
                    <a:pt x="9694077" y="4365547"/>
                    <a:pt x="9692188" y="4375516"/>
                    <a:pt x="9690299" y="4385054"/>
                  </a:cubicBezTo>
                  <a:lnTo>
                    <a:pt x="9679909" y="4437919"/>
                  </a:lnTo>
                  <a:cubicBezTo>
                    <a:pt x="9677871" y="4448320"/>
                    <a:pt x="9675735" y="4458097"/>
                    <a:pt x="9673647" y="4468162"/>
                  </a:cubicBezTo>
                  <a:lnTo>
                    <a:pt x="9667532" y="4496296"/>
                  </a:lnTo>
                  <a:cubicBezTo>
                    <a:pt x="9663406" y="4514941"/>
                    <a:pt x="9659081" y="4533585"/>
                    <a:pt x="9654658" y="4552277"/>
                  </a:cubicBezTo>
                  <a:cubicBezTo>
                    <a:pt x="9645760" y="4589613"/>
                    <a:pt x="9636265" y="4627045"/>
                    <a:pt x="9625876" y="4664478"/>
                  </a:cubicBezTo>
                  <a:cubicBezTo>
                    <a:pt x="9605048" y="4739247"/>
                    <a:pt x="9581088" y="4814303"/>
                    <a:pt x="9552803" y="4888737"/>
                  </a:cubicBezTo>
                  <a:cubicBezTo>
                    <a:pt x="9524668" y="4962930"/>
                    <a:pt x="9492109" y="5037459"/>
                    <a:pt x="9452639" y="5110934"/>
                  </a:cubicBezTo>
                  <a:cubicBezTo>
                    <a:pt x="9432905" y="5147695"/>
                    <a:pt x="9411431" y="5184169"/>
                    <a:pt x="9388017" y="5220020"/>
                  </a:cubicBezTo>
                  <a:cubicBezTo>
                    <a:pt x="9382201" y="5228982"/>
                    <a:pt x="9376236" y="5237945"/>
                    <a:pt x="9370073" y="5246811"/>
                  </a:cubicBezTo>
                  <a:lnTo>
                    <a:pt x="9360926" y="5260040"/>
                  </a:lnTo>
                  <a:lnTo>
                    <a:pt x="9351829" y="5272646"/>
                  </a:lnTo>
                  <a:cubicBezTo>
                    <a:pt x="9339700" y="5289468"/>
                    <a:pt x="9327174" y="5306387"/>
                    <a:pt x="9313305" y="5323881"/>
                  </a:cubicBezTo>
                  <a:cubicBezTo>
                    <a:pt x="9258625" y="5393042"/>
                    <a:pt x="9196489" y="5455445"/>
                    <a:pt x="9130375" y="5510802"/>
                  </a:cubicBezTo>
                  <a:cubicBezTo>
                    <a:pt x="9097319" y="5538505"/>
                    <a:pt x="9063268" y="5564530"/>
                    <a:pt x="9028422" y="5588878"/>
                  </a:cubicBezTo>
                  <a:cubicBezTo>
                    <a:pt x="9019723" y="5595109"/>
                    <a:pt x="9011074" y="5600909"/>
                    <a:pt x="9002424" y="5606707"/>
                  </a:cubicBezTo>
                  <a:cubicBezTo>
                    <a:pt x="8993774" y="5612603"/>
                    <a:pt x="8985124" y="5618211"/>
                    <a:pt x="8976525" y="5623866"/>
                  </a:cubicBezTo>
                  <a:cubicBezTo>
                    <a:pt x="8959277" y="5635130"/>
                    <a:pt x="8941629" y="5646201"/>
                    <a:pt x="8924181" y="5656793"/>
                  </a:cubicBezTo>
                  <a:cubicBezTo>
                    <a:pt x="8854291" y="5699259"/>
                    <a:pt x="8784946" y="5736451"/>
                    <a:pt x="8717291" y="5771582"/>
                  </a:cubicBezTo>
                  <a:lnTo>
                    <a:pt x="8617129" y="5823105"/>
                  </a:lnTo>
                  <a:lnTo>
                    <a:pt x="8518207" y="5873671"/>
                  </a:lnTo>
                  <a:cubicBezTo>
                    <a:pt x="8391200" y="5939188"/>
                    <a:pt x="8267922" y="6009788"/>
                    <a:pt x="8150558" y="6086761"/>
                  </a:cubicBezTo>
                  <a:cubicBezTo>
                    <a:pt x="8091901" y="6125248"/>
                    <a:pt x="8034736" y="6165317"/>
                    <a:pt x="7979410" y="6207158"/>
                  </a:cubicBezTo>
                  <a:cubicBezTo>
                    <a:pt x="7965739" y="6217750"/>
                    <a:pt x="7951771" y="6228103"/>
                    <a:pt x="7938300" y="6238887"/>
                  </a:cubicBezTo>
                  <a:lnTo>
                    <a:pt x="7897936" y="6271286"/>
                  </a:lnTo>
                  <a:lnTo>
                    <a:pt x="7858367" y="6304357"/>
                  </a:lnTo>
                  <a:lnTo>
                    <a:pt x="7819048" y="6338770"/>
                  </a:lnTo>
                  <a:cubicBezTo>
                    <a:pt x="7804882" y="6351232"/>
                    <a:pt x="7792105" y="6362591"/>
                    <a:pt x="7778882" y="6374477"/>
                  </a:cubicBezTo>
                  <a:lnTo>
                    <a:pt x="7739563" y="6410328"/>
                  </a:lnTo>
                  <a:cubicBezTo>
                    <a:pt x="7713366" y="6434485"/>
                    <a:pt x="7687168" y="6459120"/>
                    <a:pt x="7660824" y="6484138"/>
                  </a:cubicBezTo>
                  <a:lnTo>
                    <a:pt x="7502302" y="6636360"/>
                  </a:lnTo>
                  <a:lnTo>
                    <a:pt x="7273394" y="6858000"/>
                  </a:lnTo>
                  <a:lnTo>
                    <a:pt x="6780690" y="6858000"/>
                  </a:lnTo>
                  <a:lnTo>
                    <a:pt x="6854939" y="6783597"/>
                  </a:lnTo>
                  <a:cubicBezTo>
                    <a:pt x="6880688" y="6757810"/>
                    <a:pt x="6906338" y="6732265"/>
                    <a:pt x="6932087" y="6705809"/>
                  </a:cubicBezTo>
                  <a:lnTo>
                    <a:pt x="7241130" y="6390965"/>
                  </a:lnTo>
                  <a:lnTo>
                    <a:pt x="7397564" y="6233087"/>
                  </a:lnTo>
                  <a:cubicBezTo>
                    <a:pt x="7424009" y="6206679"/>
                    <a:pt x="7450802" y="6180175"/>
                    <a:pt x="7478142" y="6153670"/>
                  </a:cubicBezTo>
                  <a:lnTo>
                    <a:pt x="7519600" y="6113937"/>
                  </a:lnTo>
                  <a:cubicBezTo>
                    <a:pt x="7533469" y="6100805"/>
                    <a:pt x="7547934" y="6087288"/>
                    <a:pt x="7561207" y="6075067"/>
                  </a:cubicBezTo>
                  <a:lnTo>
                    <a:pt x="7604204" y="6035526"/>
                  </a:lnTo>
                  <a:lnTo>
                    <a:pt x="7648644" y="5996416"/>
                  </a:lnTo>
                  <a:cubicBezTo>
                    <a:pt x="7663608" y="5983570"/>
                    <a:pt x="7678768" y="5971013"/>
                    <a:pt x="7693830" y="5958264"/>
                  </a:cubicBezTo>
                  <a:cubicBezTo>
                    <a:pt x="7708942" y="5945611"/>
                    <a:pt x="7724352" y="5933485"/>
                    <a:pt x="7739662" y="5921073"/>
                  </a:cubicBezTo>
                  <a:cubicBezTo>
                    <a:pt x="7801154" y="5872088"/>
                    <a:pt x="7864234" y="5825502"/>
                    <a:pt x="7928458" y="5781025"/>
                  </a:cubicBezTo>
                  <a:cubicBezTo>
                    <a:pt x="8057005" y="5692164"/>
                    <a:pt x="8190077" y="5611500"/>
                    <a:pt x="8325882" y="5537450"/>
                  </a:cubicBezTo>
                  <a:lnTo>
                    <a:pt x="8424555" y="5484106"/>
                  </a:lnTo>
                  <a:lnTo>
                    <a:pt x="8521737" y="5431289"/>
                  </a:lnTo>
                  <a:cubicBezTo>
                    <a:pt x="8585315" y="5396349"/>
                    <a:pt x="8646456" y="5361840"/>
                    <a:pt x="8702677" y="5325942"/>
                  </a:cubicBezTo>
                  <a:cubicBezTo>
                    <a:pt x="8716795" y="5316931"/>
                    <a:pt x="8730365" y="5308017"/>
                    <a:pt x="8743986" y="5298717"/>
                  </a:cubicBezTo>
                  <a:cubicBezTo>
                    <a:pt x="8750747" y="5294069"/>
                    <a:pt x="8757606" y="5289420"/>
                    <a:pt x="8764167" y="5284723"/>
                  </a:cubicBezTo>
                  <a:cubicBezTo>
                    <a:pt x="8770778" y="5280074"/>
                    <a:pt x="8777440" y="5275377"/>
                    <a:pt x="8783704" y="5270679"/>
                  </a:cubicBezTo>
                  <a:cubicBezTo>
                    <a:pt x="8809155" y="5251987"/>
                    <a:pt x="8833611" y="5232577"/>
                    <a:pt x="8856776" y="5212399"/>
                  </a:cubicBezTo>
                  <a:cubicBezTo>
                    <a:pt x="8903104" y="5172043"/>
                    <a:pt x="8944463" y="5128668"/>
                    <a:pt x="8979856" y="5082081"/>
                  </a:cubicBezTo>
                  <a:cubicBezTo>
                    <a:pt x="8988555" y="5070722"/>
                    <a:pt x="8997602" y="5057973"/>
                    <a:pt x="9006699" y="5044984"/>
                  </a:cubicBezTo>
                  <a:lnTo>
                    <a:pt x="9013509" y="5035254"/>
                  </a:lnTo>
                  <a:lnTo>
                    <a:pt x="9019773" y="5025812"/>
                  </a:lnTo>
                  <a:cubicBezTo>
                    <a:pt x="9023997" y="5019629"/>
                    <a:pt x="9028073" y="5013254"/>
                    <a:pt x="9032050" y="5006833"/>
                  </a:cubicBezTo>
                  <a:cubicBezTo>
                    <a:pt x="9048206" y="4981238"/>
                    <a:pt x="9063417" y="4954542"/>
                    <a:pt x="9077733" y="4926839"/>
                  </a:cubicBezTo>
                  <a:cubicBezTo>
                    <a:pt x="9106415" y="4871434"/>
                    <a:pt x="9131469" y="4812050"/>
                    <a:pt x="9154285" y="4750223"/>
                  </a:cubicBezTo>
                  <a:cubicBezTo>
                    <a:pt x="9176904" y="4688586"/>
                    <a:pt x="9196537" y="4625032"/>
                    <a:pt x="9213936" y="4559945"/>
                  </a:cubicBezTo>
                  <a:cubicBezTo>
                    <a:pt x="9222635" y="4527402"/>
                    <a:pt x="9230887" y="4494523"/>
                    <a:pt x="9238592" y="4461357"/>
                  </a:cubicBezTo>
                  <a:cubicBezTo>
                    <a:pt x="9242419" y="4444773"/>
                    <a:pt x="9246147" y="4428094"/>
                    <a:pt x="9249776" y="4411319"/>
                  </a:cubicBezTo>
                  <a:lnTo>
                    <a:pt x="9255046" y="4386299"/>
                  </a:lnTo>
                  <a:lnTo>
                    <a:pt x="9259718" y="4363342"/>
                  </a:lnTo>
                  <a:lnTo>
                    <a:pt x="9269959" y="4309566"/>
                  </a:lnTo>
                  <a:lnTo>
                    <a:pt x="9274233" y="4286176"/>
                  </a:lnTo>
                  <a:lnTo>
                    <a:pt x="9276022" y="4275489"/>
                  </a:lnTo>
                  <a:lnTo>
                    <a:pt x="9277861" y="4263506"/>
                  </a:lnTo>
                  <a:lnTo>
                    <a:pt x="9286014" y="4211696"/>
                  </a:lnTo>
                  <a:lnTo>
                    <a:pt x="9290092" y="4185767"/>
                  </a:lnTo>
                  <a:lnTo>
                    <a:pt x="9292128" y="4172826"/>
                  </a:lnTo>
                  <a:cubicBezTo>
                    <a:pt x="9292774" y="4168464"/>
                    <a:pt x="9293173" y="4164055"/>
                    <a:pt x="9293720" y="4159693"/>
                  </a:cubicBezTo>
                  <a:lnTo>
                    <a:pt x="9305650" y="4057941"/>
                  </a:lnTo>
                  <a:cubicBezTo>
                    <a:pt x="9306991" y="4045048"/>
                    <a:pt x="9308085" y="4029328"/>
                    <a:pt x="9309378" y="4010779"/>
                  </a:cubicBezTo>
                  <a:lnTo>
                    <a:pt x="9313454" y="3956428"/>
                  </a:lnTo>
                  <a:cubicBezTo>
                    <a:pt x="9318326" y="3889806"/>
                    <a:pt x="9320611" y="3821796"/>
                    <a:pt x="9320811" y="3753546"/>
                  </a:cubicBezTo>
                  <a:cubicBezTo>
                    <a:pt x="9320910" y="3719373"/>
                    <a:pt x="9320513" y="3685056"/>
                    <a:pt x="9319617" y="3650643"/>
                  </a:cubicBezTo>
                  <a:lnTo>
                    <a:pt x="9318176" y="3600030"/>
                  </a:lnTo>
                  <a:lnTo>
                    <a:pt x="9317778" y="3588096"/>
                  </a:lnTo>
                  <a:lnTo>
                    <a:pt x="9316983" y="3575107"/>
                  </a:lnTo>
                  <a:lnTo>
                    <a:pt x="9315443" y="3549130"/>
                  </a:lnTo>
                  <a:lnTo>
                    <a:pt x="9312311" y="3497176"/>
                  </a:lnTo>
                  <a:cubicBezTo>
                    <a:pt x="9311118" y="3479825"/>
                    <a:pt x="9309129" y="3462427"/>
                    <a:pt x="9307587" y="3445029"/>
                  </a:cubicBezTo>
                  <a:lnTo>
                    <a:pt x="9302618" y="3392835"/>
                  </a:lnTo>
                  <a:lnTo>
                    <a:pt x="9301574" y="3381476"/>
                  </a:lnTo>
                  <a:lnTo>
                    <a:pt x="9300430" y="3370740"/>
                  </a:lnTo>
                  <a:lnTo>
                    <a:pt x="9297547" y="3346966"/>
                  </a:lnTo>
                  <a:lnTo>
                    <a:pt x="9294017" y="3320030"/>
                  </a:lnTo>
                  <a:lnTo>
                    <a:pt x="9290439" y="3290410"/>
                  </a:lnTo>
                  <a:cubicBezTo>
                    <a:pt x="9288849" y="3275745"/>
                    <a:pt x="9286761" y="3260934"/>
                    <a:pt x="9284275" y="3244544"/>
                  </a:cubicBezTo>
                  <a:lnTo>
                    <a:pt x="9275974" y="3193116"/>
                  </a:lnTo>
                  <a:cubicBezTo>
                    <a:pt x="9273189" y="3176197"/>
                    <a:pt x="9270256" y="3159230"/>
                    <a:pt x="9267224" y="3142264"/>
                  </a:cubicBezTo>
                  <a:cubicBezTo>
                    <a:pt x="9255146" y="3074493"/>
                    <a:pt x="9240929" y="3007057"/>
                    <a:pt x="9225320" y="2939909"/>
                  </a:cubicBezTo>
                  <a:cubicBezTo>
                    <a:pt x="9217465" y="2906311"/>
                    <a:pt x="9209214" y="2872809"/>
                    <a:pt x="9200466" y="2839449"/>
                  </a:cubicBezTo>
                  <a:lnTo>
                    <a:pt x="9193953" y="2814958"/>
                  </a:lnTo>
                  <a:lnTo>
                    <a:pt x="9186993" y="2790276"/>
                  </a:lnTo>
                  <a:cubicBezTo>
                    <a:pt x="9182471" y="2773836"/>
                    <a:pt x="9177599" y="2757252"/>
                    <a:pt x="9172628" y="2740621"/>
                  </a:cubicBezTo>
                  <a:cubicBezTo>
                    <a:pt x="9133110" y="2607859"/>
                    <a:pt x="9087527" y="2476533"/>
                    <a:pt x="9035082" y="2347463"/>
                  </a:cubicBezTo>
                  <a:cubicBezTo>
                    <a:pt x="9008836" y="2282951"/>
                    <a:pt x="8981298" y="2218870"/>
                    <a:pt x="8952118" y="2155413"/>
                  </a:cubicBezTo>
                  <a:lnTo>
                    <a:pt x="8929948" y="2107915"/>
                  </a:lnTo>
                  <a:lnTo>
                    <a:pt x="8907429" y="2060753"/>
                  </a:lnTo>
                  <a:cubicBezTo>
                    <a:pt x="8892170" y="2029408"/>
                    <a:pt x="8876411" y="1997726"/>
                    <a:pt x="8860404" y="1966478"/>
                  </a:cubicBezTo>
                  <a:cubicBezTo>
                    <a:pt x="8828243" y="1903931"/>
                    <a:pt x="8795336" y="1841670"/>
                    <a:pt x="8760788" y="1780274"/>
                  </a:cubicBezTo>
                  <a:lnTo>
                    <a:pt x="8734740" y="1734311"/>
                  </a:lnTo>
                  <a:lnTo>
                    <a:pt x="8708046" y="1687963"/>
                  </a:lnTo>
                  <a:cubicBezTo>
                    <a:pt x="8690300" y="1657337"/>
                    <a:pt x="8672455" y="1627334"/>
                    <a:pt x="8654062" y="1597234"/>
                  </a:cubicBezTo>
                  <a:cubicBezTo>
                    <a:pt x="8617575" y="1536988"/>
                    <a:pt x="8579398" y="1477365"/>
                    <a:pt x="8540278" y="1418077"/>
                  </a:cubicBezTo>
                  <a:lnTo>
                    <a:pt x="8510701" y="1373695"/>
                  </a:lnTo>
                  <a:lnTo>
                    <a:pt x="8480676" y="1329457"/>
                  </a:lnTo>
                  <a:cubicBezTo>
                    <a:pt x="8460643" y="1300269"/>
                    <a:pt x="8440411" y="1271224"/>
                    <a:pt x="8419782" y="1242275"/>
                  </a:cubicBezTo>
                  <a:cubicBezTo>
                    <a:pt x="8378476" y="1184425"/>
                    <a:pt x="8335923" y="1127006"/>
                    <a:pt x="8292478" y="1069875"/>
                  </a:cubicBezTo>
                  <a:lnTo>
                    <a:pt x="8259620" y="1027123"/>
                  </a:lnTo>
                  <a:lnTo>
                    <a:pt x="8243416" y="1006130"/>
                  </a:lnTo>
                  <a:lnTo>
                    <a:pt x="8227110" y="985473"/>
                  </a:lnTo>
                  <a:cubicBezTo>
                    <a:pt x="8204890" y="957483"/>
                    <a:pt x="8182422" y="929684"/>
                    <a:pt x="8159604" y="902029"/>
                  </a:cubicBezTo>
                  <a:cubicBezTo>
                    <a:pt x="8114170" y="846671"/>
                    <a:pt x="8067494" y="792177"/>
                    <a:pt x="8020022" y="738209"/>
                  </a:cubicBezTo>
                  <a:lnTo>
                    <a:pt x="7984182" y="697901"/>
                  </a:lnTo>
                  <a:lnTo>
                    <a:pt x="7948043" y="657976"/>
                  </a:lnTo>
                  <a:cubicBezTo>
                    <a:pt x="7923636" y="631328"/>
                    <a:pt x="7899079" y="604823"/>
                    <a:pt x="7874324" y="578607"/>
                  </a:cubicBezTo>
                  <a:cubicBezTo>
                    <a:pt x="7824714" y="526221"/>
                    <a:pt x="7774608" y="474458"/>
                    <a:pt x="7723308" y="424085"/>
                  </a:cubicBezTo>
                  <a:cubicBezTo>
                    <a:pt x="7672157" y="373808"/>
                    <a:pt x="7619168" y="324153"/>
                    <a:pt x="7565532" y="275602"/>
                  </a:cubicBezTo>
                  <a:close/>
                  <a:moveTo>
                    <a:pt x="1832515" y="0"/>
                  </a:moveTo>
                  <a:lnTo>
                    <a:pt x="2158449" y="0"/>
                  </a:lnTo>
                  <a:lnTo>
                    <a:pt x="2108797" y="37845"/>
                  </a:lnTo>
                  <a:cubicBezTo>
                    <a:pt x="2052253" y="83168"/>
                    <a:pt x="1996914" y="129778"/>
                    <a:pt x="1942830" y="177587"/>
                  </a:cubicBezTo>
                  <a:cubicBezTo>
                    <a:pt x="1834563" y="273109"/>
                    <a:pt x="1731317" y="373472"/>
                    <a:pt x="1633191" y="477909"/>
                  </a:cubicBezTo>
                  <a:cubicBezTo>
                    <a:pt x="1240290" y="896038"/>
                    <a:pt x="927123" y="1375900"/>
                    <a:pt x="702686" y="1889935"/>
                  </a:cubicBezTo>
                  <a:cubicBezTo>
                    <a:pt x="646565" y="2018192"/>
                    <a:pt x="596210" y="2149182"/>
                    <a:pt x="551769" y="2281416"/>
                  </a:cubicBezTo>
                  <a:cubicBezTo>
                    <a:pt x="507429" y="2413700"/>
                    <a:pt x="469451" y="2547613"/>
                    <a:pt x="438383" y="2682772"/>
                  </a:cubicBezTo>
                  <a:cubicBezTo>
                    <a:pt x="423122" y="2750111"/>
                    <a:pt x="409203" y="2818553"/>
                    <a:pt x="397124" y="2887044"/>
                  </a:cubicBezTo>
                  <a:cubicBezTo>
                    <a:pt x="385144" y="2955581"/>
                    <a:pt x="374357" y="3024359"/>
                    <a:pt x="365658" y="3093424"/>
                  </a:cubicBezTo>
                  <a:cubicBezTo>
                    <a:pt x="347813" y="3231506"/>
                    <a:pt x="336727" y="3370260"/>
                    <a:pt x="332105" y="3509828"/>
                  </a:cubicBezTo>
                  <a:cubicBezTo>
                    <a:pt x="322311" y="3788822"/>
                    <a:pt x="339660" y="4068628"/>
                    <a:pt x="383653" y="4346327"/>
                  </a:cubicBezTo>
                  <a:cubicBezTo>
                    <a:pt x="394539" y="4415489"/>
                    <a:pt x="407464" y="4484267"/>
                    <a:pt x="422327" y="4552900"/>
                  </a:cubicBezTo>
                  <a:cubicBezTo>
                    <a:pt x="437041" y="4621534"/>
                    <a:pt x="453693" y="4689881"/>
                    <a:pt x="472184" y="4757939"/>
                  </a:cubicBezTo>
                  <a:cubicBezTo>
                    <a:pt x="490677" y="4825949"/>
                    <a:pt x="511007" y="4893673"/>
                    <a:pt x="533078" y="4960916"/>
                  </a:cubicBezTo>
                  <a:cubicBezTo>
                    <a:pt x="555249" y="5028208"/>
                    <a:pt x="578662" y="5095022"/>
                    <a:pt x="604710" y="5160875"/>
                  </a:cubicBezTo>
                  <a:cubicBezTo>
                    <a:pt x="707358" y="5425298"/>
                    <a:pt x="838443" y="5680902"/>
                    <a:pt x="996766" y="5920640"/>
                  </a:cubicBezTo>
                  <a:cubicBezTo>
                    <a:pt x="1154790" y="6160571"/>
                    <a:pt x="1340404" y="6384350"/>
                    <a:pt x="1549183" y="6586417"/>
                  </a:cubicBezTo>
                  <a:cubicBezTo>
                    <a:pt x="1601365" y="6636982"/>
                    <a:pt x="1654970" y="6686208"/>
                    <a:pt x="1709890" y="6734063"/>
                  </a:cubicBezTo>
                  <a:lnTo>
                    <a:pt x="1859761" y="6858000"/>
                  </a:lnTo>
                  <a:lnTo>
                    <a:pt x="1671798" y="6858000"/>
                  </a:lnTo>
                  <a:lnTo>
                    <a:pt x="1628044" y="6822717"/>
                  </a:lnTo>
                  <a:cubicBezTo>
                    <a:pt x="1570828" y="6774460"/>
                    <a:pt x="1514710" y="6724955"/>
                    <a:pt x="1459756" y="6674223"/>
                  </a:cubicBezTo>
                  <a:cubicBezTo>
                    <a:pt x="1019931" y="6268363"/>
                    <a:pt x="658296" y="5781216"/>
                    <a:pt x="402543" y="5241588"/>
                  </a:cubicBezTo>
                  <a:cubicBezTo>
                    <a:pt x="370231" y="5174103"/>
                    <a:pt x="340306" y="5105661"/>
                    <a:pt x="311923" y="5036741"/>
                  </a:cubicBezTo>
                  <a:cubicBezTo>
                    <a:pt x="283539" y="4967771"/>
                    <a:pt x="256895" y="4897986"/>
                    <a:pt x="232140" y="4827483"/>
                  </a:cubicBezTo>
                  <a:cubicBezTo>
                    <a:pt x="207334" y="4756981"/>
                    <a:pt x="184368" y="4685758"/>
                    <a:pt x="163392" y="4613913"/>
                  </a:cubicBezTo>
                  <a:cubicBezTo>
                    <a:pt x="142514" y="4542020"/>
                    <a:pt x="123624" y="4469360"/>
                    <a:pt x="106823" y="4396365"/>
                  </a:cubicBezTo>
                  <a:cubicBezTo>
                    <a:pt x="73120" y="4250902"/>
                    <a:pt x="47371" y="4103281"/>
                    <a:pt x="29326" y="3954702"/>
                  </a:cubicBezTo>
                  <a:cubicBezTo>
                    <a:pt x="20478" y="3880365"/>
                    <a:pt x="13320" y="3805789"/>
                    <a:pt x="8647" y="3730971"/>
                  </a:cubicBezTo>
                  <a:cubicBezTo>
                    <a:pt x="6311" y="3693587"/>
                    <a:pt x="4322" y="3656106"/>
                    <a:pt x="2880" y="3618674"/>
                  </a:cubicBezTo>
                  <a:cubicBezTo>
                    <a:pt x="1539" y="3581146"/>
                    <a:pt x="694" y="3543809"/>
                    <a:pt x="296" y="3506425"/>
                  </a:cubicBezTo>
                  <a:cubicBezTo>
                    <a:pt x="-1543" y="3356649"/>
                    <a:pt x="5217" y="3206200"/>
                    <a:pt x="20030" y="3056711"/>
                  </a:cubicBezTo>
                  <a:cubicBezTo>
                    <a:pt x="27686" y="2981942"/>
                    <a:pt x="36931" y="2907317"/>
                    <a:pt x="48664" y="2832980"/>
                  </a:cubicBezTo>
                  <a:cubicBezTo>
                    <a:pt x="60395" y="2758642"/>
                    <a:pt x="73716" y="2684784"/>
                    <a:pt x="89922" y="2610639"/>
                  </a:cubicBezTo>
                  <a:cubicBezTo>
                    <a:pt x="121736" y="2462826"/>
                    <a:pt x="162645" y="2317220"/>
                    <a:pt x="211163" y="2174343"/>
                  </a:cubicBezTo>
                  <a:cubicBezTo>
                    <a:pt x="259778" y="2031468"/>
                    <a:pt x="315601" y="1891517"/>
                    <a:pt x="379129" y="1754393"/>
                  </a:cubicBezTo>
                  <a:cubicBezTo>
                    <a:pt x="505540" y="1480433"/>
                    <a:pt x="660930" y="1219318"/>
                    <a:pt x="841424" y="976270"/>
                  </a:cubicBezTo>
                  <a:cubicBezTo>
                    <a:pt x="931498" y="854627"/>
                    <a:pt x="1028182" y="737777"/>
                    <a:pt x="1130234" y="625768"/>
                  </a:cubicBezTo>
                  <a:cubicBezTo>
                    <a:pt x="1232486" y="513855"/>
                    <a:pt x="1340157" y="407117"/>
                    <a:pt x="1452897" y="305748"/>
                  </a:cubicBezTo>
                  <a:cubicBezTo>
                    <a:pt x="1565736" y="204380"/>
                    <a:pt x="1683596" y="108665"/>
                    <a:pt x="1805682" y="18752"/>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Freeform: Shape 18">
              <a:extLst>
                <a:ext uri="{FF2B5EF4-FFF2-40B4-BE49-F238E27FC236}">
                  <a16:creationId xmlns:a16="http://schemas.microsoft.com/office/drawing/2014/main" id="{DA46556D-445B-4CD0-87A0-02A30BD1B15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08320" y="3985"/>
              <a:ext cx="9767847" cy="6858000"/>
            </a:xfrm>
            <a:custGeom>
              <a:avLst/>
              <a:gdLst>
                <a:gd name="connsiteX0" fmla="*/ 7151367 w 9767847"/>
                <a:gd name="connsiteY0" fmla="*/ 0 h 6858000"/>
                <a:gd name="connsiteX1" fmla="*/ 7881247 w 9767847"/>
                <a:gd name="connsiteY1" fmla="*/ 0 h 6858000"/>
                <a:gd name="connsiteX2" fmla="*/ 7990553 w 9767847"/>
                <a:gd name="connsiteY2" fmla="*/ 81317 h 6858000"/>
                <a:gd name="connsiteX3" fmla="*/ 9767847 w 9767847"/>
                <a:gd name="connsiteY3" fmla="*/ 3649031 h 6858000"/>
                <a:gd name="connsiteX4" fmla="*/ 8652597 w 9767847"/>
                <a:gd name="connsiteY4" fmla="*/ 6590005 h 6858000"/>
                <a:gd name="connsiteX5" fmla="*/ 8395306 w 9767847"/>
                <a:gd name="connsiteY5" fmla="*/ 6858000 h 6858000"/>
                <a:gd name="connsiteX6" fmla="*/ 6762603 w 9767847"/>
                <a:gd name="connsiteY6" fmla="*/ 6858000 h 6858000"/>
                <a:gd name="connsiteX7" fmla="*/ 6765962 w 9767847"/>
                <a:gd name="connsiteY7" fmla="*/ 6854844 h 6858000"/>
                <a:gd name="connsiteX8" fmla="*/ 6804586 w 9767847"/>
                <a:gd name="connsiteY8" fmla="*/ 6817103 h 6858000"/>
                <a:gd name="connsiteX9" fmla="*/ 6881735 w 9767847"/>
                <a:gd name="connsiteY9" fmla="*/ 6741197 h 6858000"/>
                <a:gd name="connsiteX10" fmla="*/ 6958883 w 9767847"/>
                <a:gd name="connsiteY10" fmla="*/ 6664822 h 6858000"/>
                <a:gd name="connsiteX11" fmla="*/ 7267925 w 9767847"/>
                <a:gd name="connsiteY11" fmla="*/ 6355694 h 6858000"/>
                <a:gd name="connsiteX12" fmla="*/ 7424360 w 9767847"/>
                <a:gd name="connsiteY12" fmla="*/ 6200685 h 6858000"/>
                <a:gd name="connsiteX13" fmla="*/ 7504938 w 9767847"/>
                <a:gd name="connsiteY13" fmla="*/ 6122708 h 6858000"/>
                <a:gd name="connsiteX14" fmla="*/ 7546396 w 9767847"/>
                <a:gd name="connsiteY14" fmla="*/ 6083697 h 6858000"/>
                <a:gd name="connsiteX15" fmla="*/ 7588002 w 9767847"/>
                <a:gd name="connsiteY15" fmla="*/ 6045532 h 6858000"/>
                <a:gd name="connsiteX16" fmla="*/ 7631000 w 9767847"/>
                <a:gd name="connsiteY16" fmla="*/ 6006709 h 6858000"/>
                <a:gd name="connsiteX17" fmla="*/ 7675440 w 9767847"/>
                <a:gd name="connsiteY17" fmla="*/ 5968309 h 6858000"/>
                <a:gd name="connsiteX18" fmla="*/ 7720626 w 9767847"/>
                <a:gd name="connsiteY18" fmla="*/ 5930851 h 6858000"/>
                <a:gd name="connsiteX19" fmla="*/ 7766458 w 9767847"/>
                <a:gd name="connsiteY19" fmla="*/ 5894334 h 6858000"/>
                <a:gd name="connsiteX20" fmla="*/ 7955254 w 9767847"/>
                <a:gd name="connsiteY20" fmla="*/ 5756828 h 6858000"/>
                <a:gd name="connsiteX21" fmla="*/ 8352678 w 9767847"/>
                <a:gd name="connsiteY21" fmla="*/ 5517630 h 6858000"/>
                <a:gd name="connsiteX22" fmla="*/ 8451350 w 9767847"/>
                <a:gd name="connsiteY22" fmla="*/ 5465254 h 6858000"/>
                <a:gd name="connsiteX23" fmla="*/ 8548532 w 9767847"/>
                <a:gd name="connsiteY23" fmla="*/ 5413395 h 6858000"/>
                <a:gd name="connsiteX24" fmla="*/ 8729473 w 9767847"/>
                <a:gd name="connsiteY24" fmla="*/ 5309961 h 6858000"/>
                <a:gd name="connsiteX25" fmla="*/ 8770781 w 9767847"/>
                <a:gd name="connsiteY25" fmla="*/ 5283232 h 6858000"/>
                <a:gd name="connsiteX26" fmla="*/ 8790964 w 9767847"/>
                <a:gd name="connsiteY26" fmla="*/ 5269492 h 6858000"/>
                <a:gd name="connsiteX27" fmla="*/ 8810499 w 9767847"/>
                <a:gd name="connsiteY27" fmla="*/ 5255703 h 6858000"/>
                <a:gd name="connsiteX28" fmla="*/ 8883571 w 9767847"/>
                <a:gd name="connsiteY28" fmla="*/ 5198479 h 6858000"/>
                <a:gd name="connsiteX29" fmla="*/ 9006651 w 9767847"/>
                <a:gd name="connsiteY29" fmla="*/ 5070527 h 6858000"/>
                <a:gd name="connsiteX30" fmla="*/ 9033494 w 9767847"/>
                <a:gd name="connsiteY30" fmla="*/ 5034105 h 6858000"/>
                <a:gd name="connsiteX31" fmla="*/ 9040305 w 9767847"/>
                <a:gd name="connsiteY31" fmla="*/ 5024551 h 6858000"/>
                <a:gd name="connsiteX32" fmla="*/ 9046568 w 9767847"/>
                <a:gd name="connsiteY32" fmla="*/ 5015281 h 6858000"/>
                <a:gd name="connsiteX33" fmla="*/ 9058846 w 9767847"/>
                <a:gd name="connsiteY33" fmla="*/ 4996645 h 6858000"/>
                <a:gd name="connsiteX34" fmla="*/ 9104529 w 9767847"/>
                <a:gd name="connsiteY34" fmla="*/ 4918105 h 6858000"/>
                <a:gd name="connsiteX35" fmla="*/ 9181081 w 9767847"/>
                <a:gd name="connsiteY35" fmla="*/ 4744694 h 6858000"/>
                <a:gd name="connsiteX36" fmla="*/ 9240731 w 9767847"/>
                <a:gd name="connsiteY36" fmla="*/ 4557872 h 6858000"/>
                <a:gd name="connsiteX37" fmla="*/ 9265388 w 9767847"/>
                <a:gd name="connsiteY37" fmla="*/ 4461073 h 6858000"/>
                <a:gd name="connsiteX38" fmla="*/ 9276571 w 9767847"/>
                <a:gd name="connsiteY38" fmla="*/ 4411943 h 6858000"/>
                <a:gd name="connsiteX39" fmla="*/ 9281841 w 9767847"/>
                <a:gd name="connsiteY39" fmla="*/ 4387379 h 6858000"/>
                <a:gd name="connsiteX40" fmla="*/ 9286513 w 9767847"/>
                <a:gd name="connsiteY40" fmla="*/ 4364838 h 6858000"/>
                <a:gd name="connsiteX41" fmla="*/ 9296754 w 9767847"/>
                <a:gd name="connsiteY41" fmla="*/ 4312038 h 6858000"/>
                <a:gd name="connsiteX42" fmla="*/ 9301029 w 9767847"/>
                <a:gd name="connsiteY42" fmla="*/ 4289074 h 6858000"/>
                <a:gd name="connsiteX43" fmla="*/ 9302818 w 9767847"/>
                <a:gd name="connsiteY43" fmla="*/ 4278581 h 6858000"/>
                <a:gd name="connsiteX44" fmla="*/ 9304658 w 9767847"/>
                <a:gd name="connsiteY44" fmla="*/ 4266816 h 6858000"/>
                <a:gd name="connsiteX45" fmla="*/ 9312810 w 9767847"/>
                <a:gd name="connsiteY45" fmla="*/ 4215945 h 6858000"/>
                <a:gd name="connsiteX46" fmla="*/ 9316887 w 9767847"/>
                <a:gd name="connsiteY46" fmla="*/ 4190486 h 6858000"/>
                <a:gd name="connsiteX47" fmla="*/ 9318923 w 9767847"/>
                <a:gd name="connsiteY47" fmla="*/ 4177780 h 6858000"/>
                <a:gd name="connsiteX48" fmla="*/ 9320515 w 9767847"/>
                <a:gd name="connsiteY48" fmla="*/ 4164886 h 6858000"/>
                <a:gd name="connsiteX49" fmla="*/ 9332445 w 9767847"/>
                <a:gd name="connsiteY49" fmla="*/ 4064981 h 6858000"/>
                <a:gd name="connsiteX50" fmla="*/ 9336173 w 9767847"/>
                <a:gd name="connsiteY50" fmla="*/ 4018676 h 6858000"/>
                <a:gd name="connsiteX51" fmla="*/ 9340199 w 9767847"/>
                <a:gd name="connsiteY51" fmla="*/ 3965171 h 6858000"/>
                <a:gd name="connsiteX52" fmla="*/ 9347557 w 9767847"/>
                <a:gd name="connsiteY52" fmla="*/ 3765972 h 6858000"/>
                <a:gd name="connsiteX53" fmla="*/ 9346364 w 9767847"/>
                <a:gd name="connsiteY53" fmla="*/ 3664938 h 6858000"/>
                <a:gd name="connsiteX54" fmla="*/ 9344921 w 9767847"/>
                <a:gd name="connsiteY54" fmla="*/ 3615243 h 6858000"/>
                <a:gd name="connsiteX55" fmla="*/ 9344524 w 9767847"/>
                <a:gd name="connsiteY55" fmla="*/ 3603526 h 6858000"/>
                <a:gd name="connsiteX56" fmla="*/ 9343728 w 9767847"/>
                <a:gd name="connsiteY56" fmla="*/ 3590774 h 6858000"/>
                <a:gd name="connsiteX57" fmla="*/ 9342188 w 9767847"/>
                <a:gd name="connsiteY57" fmla="*/ 3565268 h 6858000"/>
                <a:gd name="connsiteX58" fmla="*/ 9339056 w 9767847"/>
                <a:gd name="connsiteY58" fmla="*/ 3514256 h 6858000"/>
                <a:gd name="connsiteX59" fmla="*/ 9334334 w 9767847"/>
                <a:gd name="connsiteY59" fmla="*/ 3463057 h 6858000"/>
                <a:gd name="connsiteX60" fmla="*/ 9329363 w 9767847"/>
                <a:gd name="connsiteY60" fmla="*/ 3411810 h 6858000"/>
                <a:gd name="connsiteX61" fmla="*/ 9328319 w 9767847"/>
                <a:gd name="connsiteY61" fmla="*/ 3400657 h 6858000"/>
                <a:gd name="connsiteX62" fmla="*/ 9327177 w 9767847"/>
                <a:gd name="connsiteY62" fmla="*/ 3390116 h 6858000"/>
                <a:gd name="connsiteX63" fmla="*/ 9324293 w 9767847"/>
                <a:gd name="connsiteY63" fmla="*/ 3366774 h 6858000"/>
                <a:gd name="connsiteX64" fmla="*/ 9320763 w 9767847"/>
                <a:gd name="connsiteY64" fmla="*/ 3340329 h 6858000"/>
                <a:gd name="connsiteX65" fmla="*/ 9317184 w 9767847"/>
                <a:gd name="connsiteY65" fmla="*/ 3311245 h 6858000"/>
                <a:gd name="connsiteX66" fmla="*/ 9311021 w 9767847"/>
                <a:gd name="connsiteY66" fmla="*/ 3266211 h 6858000"/>
                <a:gd name="connsiteX67" fmla="*/ 9302719 w 9767847"/>
                <a:gd name="connsiteY67" fmla="*/ 3215717 h 6858000"/>
                <a:gd name="connsiteX68" fmla="*/ 9293970 w 9767847"/>
                <a:gd name="connsiteY68" fmla="*/ 3165789 h 6858000"/>
                <a:gd name="connsiteX69" fmla="*/ 9252065 w 9767847"/>
                <a:gd name="connsiteY69" fmla="*/ 2967107 h 6858000"/>
                <a:gd name="connsiteX70" fmla="*/ 9227211 w 9767847"/>
                <a:gd name="connsiteY70" fmla="*/ 2868473 h 6858000"/>
                <a:gd name="connsiteX71" fmla="*/ 9220699 w 9767847"/>
                <a:gd name="connsiteY71" fmla="*/ 2844426 h 6858000"/>
                <a:gd name="connsiteX72" fmla="*/ 9213740 w 9767847"/>
                <a:gd name="connsiteY72" fmla="*/ 2820191 h 6858000"/>
                <a:gd name="connsiteX73" fmla="*/ 9199374 w 9767847"/>
                <a:gd name="connsiteY73" fmla="*/ 2771438 h 6858000"/>
                <a:gd name="connsiteX74" fmla="*/ 9061829 w 9767847"/>
                <a:gd name="connsiteY74" fmla="*/ 2385418 h 6858000"/>
                <a:gd name="connsiteX75" fmla="*/ 8978865 w 9767847"/>
                <a:gd name="connsiteY75" fmla="*/ 2196855 h 6858000"/>
                <a:gd name="connsiteX76" fmla="*/ 8956694 w 9767847"/>
                <a:gd name="connsiteY76" fmla="*/ 2150219 h 6858000"/>
                <a:gd name="connsiteX77" fmla="*/ 8934176 w 9767847"/>
                <a:gd name="connsiteY77" fmla="*/ 2103914 h 6858000"/>
                <a:gd name="connsiteX78" fmla="*/ 8887151 w 9767847"/>
                <a:gd name="connsiteY78" fmla="*/ 2011350 h 6858000"/>
                <a:gd name="connsiteX79" fmla="*/ 8787533 w 9767847"/>
                <a:gd name="connsiteY79" fmla="*/ 1828527 h 6858000"/>
                <a:gd name="connsiteX80" fmla="*/ 8761485 w 9767847"/>
                <a:gd name="connsiteY80" fmla="*/ 1783398 h 6858000"/>
                <a:gd name="connsiteX81" fmla="*/ 8734791 w 9767847"/>
                <a:gd name="connsiteY81" fmla="*/ 1737893 h 6858000"/>
                <a:gd name="connsiteX82" fmla="*/ 8680808 w 9767847"/>
                <a:gd name="connsiteY82" fmla="*/ 1648812 h 6858000"/>
                <a:gd name="connsiteX83" fmla="*/ 8567024 w 9767847"/>
                <a:gd name="connsiteY83" fmla="*/ 1472906 h 6858000"/>
                <a:gd name="connsiteX84" fmla="*/ 8537446 w 9767847"/>
                <a:gd name="connsiteY84" fmla="*/ 1429330 h 6858000"/>
                <a:gd name="connsiteX85" fmla="*/ 8507423 w 9767847"/>
                <a:gd name="connsiteY85" fmla="*/ 1385896 h 6858000"/>
                <a:gd name="connsiteX86" fmla="*/ 8446529 w 9767847"/>
                <a:gd name="connsiteY86" fmla="*/ 1300295 h 6858000"/>
                <a:gd name="connsiteX87" fmla="*/ 8319224 w 9767847"/>
                <a:gd name="connsiteY87" fmla="*/ 1131026 h 6858000"/>
                <a:gd name="connsiteX88" fmla="*/ 8286366 w 9767847"/>
                <a:gd name="connsiteY88" fmla="*/ 1089050 h 6858000"/>
                <a:gd name="connsiteX89" fmla="*/ 8270161 w 9767847"/>
                <a:gd name="connsiteY89" fmla="*/ 1068439 h 6858000"/>
                <a:gd name="connsiteX90" fmla="*/ 8253856 w 9767847"/>
                <a:gd name="connsiteY90" fmla="*/ 1048156 h 6858000"/>
                <a:gd name="connsiteX91" fmla="*/ 8186352 w 9767847"/>
                <a:gd name="connsiteY91" fmla="*/ 966275 h 6858000"/>
                <a:gd name="connsiteX92" fmla="*/ 8046768 w 9767847"/>
                <a:gd name="connsiteY92" fmla="*/ 805429 h 6858000"/>
                <a:gd name="connsiteX93" fmla="*/ 8010927 w 9767847"/>
                <a:gd name="connsiteY93" fmla="*/ 765853 h 6858000"/>
                <a:gd name="connsiteX94" fmla="*/ 7974788 w 9767847"/>
                <a:gd name="connsiteY94" fmla="*/ 726653 h 6858000"/>
                <a:gd name="connsiteX95" fmla="*/ 7901070 w 9767847"/>
                <a:gd name="connsiteY95" fmla="*/ 648724 h 6858000"/>
                <a:gd name="connsiteX96" fmla="*/ 7750054 w 9767847"/>
                <a:gd name="connsiteY96" fmla="*/ 497008 h 6858000"/>
                <a:gd name="connsiteX97" fmla="*/ 7592277 w 9767847"/>
                <a:gd name="connsiteY97" fmla="*/ 351221 h 6858000"/>
                <a:gd name="connsiteX98" fmla="*/ 7257734 w 9767847"/>
                <a:gd name="connsiteY98" fmla="*/ 76964 h 6858000"/>
                <a:gd name="connsiteX99" fmla="*/ 1886601 w 9767847"/>
                <a:gd name="connsiteY99" fmla="*/ 0 h 6858000"/>
                <a:gd name="connsiteX100" fmla="*/ 2292926 w 9767847"/>
                <a:gd name="connsiteY100" fmla="*/ 0 h 6858000"/>
                <a:gd name="connsiteX101" fmla="*/ 2135542 w 9767847"/>
                <a:gd name="connsiteY101" fmla="*/ 117781 h 6858000"/>
                <a:gd name="connsiteX102" fmla="*/ 1969576 w 9767847"/>
                <a:gd name="connsiteY102" fmla="*/ 254986 h 6858000"/>
                <a:gd name="connsiteX103" fmla="*/ 1659938 w 9767847"/>
                <a:gd name="connsiteY103" fmla="*/ 549855 h 6858000"/>
                <a:gd name="connsiteX104" fmla="*/ 729383 w 9767847"/>
                <a:gd name="connsiteY104" fmla="*/ 1936480 h 6858000"/>
                <a:gd name="connsiteX105" fmla="*/ 578465 w 9767847"/>
                <a:gd name="connsiteY105" fmla="*/ 2320807 h 6858000"/>
                <a:gd name="connsiteX106" fmla="*/ 465080 w 9767847"/>
                <a:gd name="connsiteY106" fmla="*/ 2714875 h 6858000"/>
                <a:gd name="connsiteX107" fmla="*/ 423820 w 9767847"/>
                <a:gd name="connsiteY107" fmla="*/ 2915436 h 6858000"/>
                <a:gd name="connsiteX108" fmla="*/ 392355 w 9767847"/>
                <a:gd name="connsiteY108" fmla="*/ 3118071 h 6858000"/>
                <a:gd name="connsiteX109" fmla="*/ 358801 w 9767847"/>
                <a:gd name="connsiteY109" fmla="*/ 3526915 h 6858000"/>
                <a:gd name="connsiteX110" fmla="*/ 410350 w 9767847"/>
                <a:gd name="connsiteY110" fmla="*/ 4348226 h 6858000"/>
                <a:gd name="connsiteX111" fmla="*/ 449022 w 9767847"/>
                <a:gd name="connsiteY111" fmla="*/ 4551049 h 6858000"/>
                <a:gd name="connsiteX112" fmla="*/ 498882 w 9767847"/>
                <a:gd name="connsiteY112" fmla="*/ 4752365 h 6858000"/>
                <a:gd name="connsiteX113" fmla="*/ 559775 w 9767847"/>
                <a:gd name="connsiteY113" fmla="*/ 4951657 h 6858000"/>
                <a:gd name="connsiteX114" fmla="*/ 631406 w 9767847"/>
                <a:gd name="connsiteY114" fmla="*/ 5147986 h 6858000"/>
                <a:gd name="connsiteX115" fmla="*/ 1023461 w 9767847"/>
                <a:gd name="connsiteY115" fmla="*/ 5893957 h 6858000"/>
                <a:gd name="connsiteX116" fmla="*/ 1575880 w 9767847"/>
                <a:gd name="connsiteY116" fmla="*/ 6547646 h 6858000"/>
                <a:gd name="connsiteX117" fmla="*/ 1905228 w 9767847"/>
                <a:gd name="connsiteY117" fmla="*/ 6829468 h 6858000"/>
                <a:gd name="connsiteX118" fmla="*/ 1944230 w 9767847"/>
                <a:gd name="connsiteY118" fmla="*/ 6858000 h 6858000"/>
                <a:gd name="connsiteX119" fmla="*/ 1372541 w 9767847"/>
                <a:gd name="connsiteY119" fmla="*/ 6858000 h 6858000"/>
                <a:gd name="connsiteX120" fmla="*/ 1115251 w 9767847"/>
                <a:gd name="connsiteY120" fmla="*/ 6590005 h 6858000"/>
                <a:gd name="connsiteX121" fmla="*/ 0 w 9767847"/>
                <a:gd name="connsiteY121" fmla="*/ 3649031 h 6858000"/>
                <a:gd name="connsiteX122" fmla="*/ 1777294 w 9767847"/>
                <a:gd name="connsiteY122" fmla="*/ 813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9767847" h="6858000">
                  <a:moveTo>
                    <a:pt x="7151367" y="0"/>
                  </a:moveTo>
                  <a:lnTo>
                    <a:pt x="7881247" y="0"/>
                  </a:lnTo>
                  <a:lnTo>
                    <a:pt x="7990553" y="81317"/>
                  </a:lnTo>
                  <a:cubicBezTo>
                    <a:pt x="9075991" y="929334"/>
                    <a:pt x="9767847" y="2212695"/>
                    <a:pt x="9767847" y="3649031"/>
                  </a:cubicBezTo>
                  <a:cubicBezTo>
                    <a:pt x="9767847" y="4766182"/>
                    <a:pt x="9349317" y="5790792"/>
                    <a:pt x="8652597" y="6590005"/>
                  </a:cubicBezTo>
                  <a:lnTo>
                    <a:pt x="8395306" y="6858000"/>
                  </a:lnTo>
                  <a:lnTo>
                    <a:pt x="6762603" y="6858000"/>
                  </a:lnTo>
                  <a:lnTo>
                    <a:pt x="6765962" y="6854844"/>
                  </a:lnTo>
                  <a:cubicBezTo>
                    <a:pt x="6779036" y="6842703"/>
                    <a:pt x="6791663" y="6829621"/>
                    <a:pt x="6804586" y="6817103"/>
                  </a:cubicBezTo>
                  <a:lnTo>
                    <a:pt x="6881735" y="6741197"/>
                  </a:lnTo>
                  <a:cubicBezTo>
                    <a:pt x="6907435" y="6715881"/>
                    <a:pt x="6933134" y="6690798"/>
                    <a:pt x="6958883" y="6664822"/>
                  </a:cubicBezTo>
                  <a:lnTo>
                    <a:pt x="7267925" y="6355694"/>
                  </a:lnTo>
                  <a:lnTo>
                    <a:pt x="7424360" y="6200685"/>
                  </a:lnTo>
                  <a:cubicBezTo>
                    <a:pt x="7450754" y="6174802"/>
                    <a:pt x="7477598" y="6148731"/>
                    <a:pt x="7504938" y="6122708"/>
                  </a:cubicBezTo>
                  <a:lnTo>
                    <a:pt x="7546396" y="6083697"/>
                  </a:lnTo>
                  <a:cubicBezTo>
                    <a:pt x="7560264" y="6070803"/>
                    <a:pt x="7574780" y="6057532"/>
                    <a:pt x="7588002" y="6045532"/>
                  </a:cubicBezTo>
                  <a:lnTo>
                    <a:pt x="7631000" y="6006709"/>
                  </a:lnTo>
                  <a:lnTo>
                    <a:pt x="7675440" y="5968309"/>
                  </a:lnTo>
                  <a:cubicBezTo>
                    <a:pt x="7690404" y="5955698"/>
                    <a:pt x="7705564" y="5943321"/>
                    <a:pt x="7720626" y="5930851"/>
                  </a:cubicBezTo>
                  <a:cubicBezTo>
                    <a:pt x="7735738" y="5918427"/>
                    <a:pt x="7751197" y="5906521"/>
                    <a:pt x="7766458" y="5894334"/>
                  </a:cubicBezTo>
                  <a:cubicBezTo>
                    <a:pt x="7827949" y="5846192"/>
                    <a:pt x="7890979" y="5800499"/>
                    <a:pt x="7955254" y="5756828"/>
                  </a:cubicBezTo>
                  <a:cubicBezTo>
                    <a:pt x="8083800" y="5669534"/>
                    <a:pt x="8216872" y="5590336"/>
                    <a:pt x="8352678" y="5517630"/>
                  </a:cubicBezTo>
                  <a:lnTo>
                    <a:pt x="8451350" y="5465254"/>
                  </a:lnTo>
                  <a:lnTo>
                    <a:pt x="8548532" y="5413395"/>
                  </a:lnTo>
                  <a:cubicBezTo>
                    <a:pt x="8612110" y="5379090"/>
                    <a:pt x="8673251" y="5345208"/>
                    <a:pt x="8729473" y="5309961"/>
                  </a:cubicBezTo>
                  <a:cubicBezTo>
                    <a:pt x="8743591" y="5301115"/>
                    <a:pt x="8757161" y="5292361"/>
                    <a:pt x="8770781" y="5283232"/>
                  </a:cubicBezTo>
                  <a:cubicBezTo>
                    <a:pt x="8777591" y="5278667"/>
                    <a:pt x="8784451" y="5274103"/>
                    <a:pt x="8790964" y="5269492"/>
                  </a:cubicBezTo>
                  <a:cubicBezTo>
                    <a:pt x="8797574" y="5264879"/>
                    <a:pt x="8804235" y="5260314"/>
                    <a:pt x="8810499" y="5255703"/>
                  </a:cubicBezTo>
                  <a:cubicBezTo>
                    <a:pt x="8835999" y="5237303"/>
                    <a:pt x="8860407" y="5218291"/>
                    <a:pt x="8883571" y="5198479"/>
                  </a:cubicBezTo>
                  <a:cubicBezTo>
                    <a:pt x="8929900" y="5158856"/>
                    <a:pt x="8971258" y="5116315"/>
                    <a:pt x="9006651" y="5070527"/>
                  </a:cubicBezTo>
                  <a:cubicBezTo>
                    <a:pt x="9015351" y="5059328"/>
                    <a:pt x="9024398" y="5046857"/>
                    <a:pt x="9033494" y="5034105"/>
                  </a:cubicBezTo>
                  <a:lnTo>
                    <a:pt x="9040305" y="5024551"/>
                  </a:lnTo>
                  <a:lnTo>
                    <a:pt x="9046568" y="5015281"/>
                  </a:lnTo>
                  <a:cubicBezTo>
                    <a:pt x="9050743" y="5009163"/>
                    <a:pt x="9054819" y="5002952"/>
                    <a:pt x="9058846" y="4996645"/>
                  </a:cubicBezTo>
                  <a:cubicBezTo>
                    <a:pt x="9075002" y="4971517"/>
                    <a:pt x="9090212" y="4945305"/>
                    <a:pt x="9104529" y="4918105"/>
                  </a:cubicBezTo>
                  <a:cubicBezTo>
                    <a:pt x="9133211" y="4863752"/>
                    <a:pt x="9158313" y="4805447"/>
                    <a:pt x="9181081" y="4744694"/>
                  </a:cubicBezTo>
                  <a:cubicBezTo>
                    <a:pt x="9203748" y="4684178"/>
                    <a:pt x="9223383" y="4621778"/>
                    <a:pt x="9240731" y="4557872"/>
                  </a:cubicBezTo>
                  <a:cubicBezTo>
                    <a:pt x="9249481" y="4525966"/>
                    <a:pt x="9257682" y="4493684"/>
                    <a:pt x="9265388" y="4461073"/>
                  </a:cubicBezTo>
                  <a:cubicBezTo>
                    <a:pt x="9269215" y="4444744"/>
                    <a:pt x="9272943" y="4428367"/>
                    <a:pt x="9276571" y="4411943"/>
                  </a:cubicBezTo>
                  <a:lnTo>
                    <a:pt x="9281841" y="4387379"/>
                  </a:lnTo>
                  <a:lnTo>
                    <a:pt x="9286513" y="4364838"/>
                  </a:lnTo>
                  <a:lnTo>
                    <a:pt x="9296754" y="4312038"/>
                  </a:lnTo>
                  <a:lnTo>
                    <a:pt x="9301029" y="4289074"/>
                  </a:lnTo>
                  <a:lnTo>
                    <a:pt x="9302818" y="4278581"/>
                  </a:lnTo>
                  <a:lnTo>
                    <a:pt x="9304658" y="4266816"/>
                  </a:lnTo>
                  <a:lnTo>
                    <a:pt x="9312810" y="4215945"/>
                  </a:lnTo>
                  <a:lnTo>
                    <a:pt x="9316887" y="4190486"/>
                  </a:lnTo>
                  <a:lnTo>
                    <a:pt x="9318923" y="4177780"/>
                  </a:lnTo>
                  <a:cubicBezTo>
                    <a:pt x="9319570" y="4173546"/>
                    <a:pt x="9319969" y="4169169"/>
                    <a:pt x="9320515" y="4164886"/>
                  </a:cubicBezTo>
                  <a:lnTo>
                    <a:pt x="9332445" y="4064981"/>
                  </a:lnTo>
                  <a:cubicBezTo>
                    <a:pt x="9333836" y="4052370"/>
                    <a:pt x="9334880" y="4036888"/>
                    <a:pt x="9336173" y="4018676"/>
                  </a:cubicBezTo>
                  <a:lnTo>
                    <a:pt x="9340199" y="3965171"/>
                  </a:lnTo>
                  <a:cubicBezTo>
                    <a:pt x="9345071" y="3899806"/>
                    <a:pt x="9347358" y="3832983"/>
                    <a:pt x="9347557" y="3765972"/>
                  </a:cubicBezTo>
                  <a:cubicBezTo>
                    <a:pt x="9347656" y="3732420"/>
                    <a:pt x="9347209" y="3698773"/>
                    <a:pt x="9346364" y="3664938"/>
                  </a:cubicBezTo>
                  <a:lnTo>
                    <a:pt x="9344921" y="3615243"/>
                  </a:lnTo>
                  <a:lnTo>
                    <a:pt x="9344524" y="3603526"/>
                  </a:lnTo>
                  <a:lnTo>
                    <a:pt x="9343728" y="3590774"/>
                  </a:lnTo>
                  <a:lnTo>
                    <a:pt x="9342188" y="3565268"/>
                  </a:lnTo>
                  <a:lnTo>
                    <a:pt x="9339056" y="3514256"/>
                  </a:lnTo>
                  <a:cubicBezTo>
                    <a:pt x="9337914" y="3497221"/>
                    <a:pt x="9335874" y="3480138"/>
                    <a:pt x="9334334" y="3463057"/>
                  </a:cubicBezTo>
                  <a:lnTo>
                    <a:pt x="9329363" y="3411810"/>
                  </a:lnTo>
                  <a:lnTo>
                    <a:pt x="9328319" y="3400657"/>
                  </a:lnTo>
                  <a:lnTo>
                    <a:pt x="9327177" y="3390116"/>
                  </a:lnTo>
                  <a:lnTo>
                    <a:pt x="9324293" y="3366774"/>
                  </a:lnTo>
                  <a:lnTo>
                    <a:pt x="9320763" y="3340329"/>
                  </a:lnTo>
                  <a:lnTo>
                    <a:pt x="9317184" y="3311245"/>
                  </a:lnTo>
                  <a:cubicBezTo>
                    <a:pt x="9315594" y="3296893"/>
                    <a:pt x="9313506" y="3282306"/>
                    <a:pt x="9311021" y="3266211"/>
                  </a:cubicBezTo>
                  <a:lnTo>
                    <a:pt x="9302719" y="3215717"/>
                  </a:lnTo>
                  <a:cubicBezTo>
                    <a:pt x="9299936" y="3199059"/>
                    <a:pt x="9297003" y="3182400"/>
                    <a:pt x="9293970" y="3165789"/>
                  </a:cubicBezTo>
                  <a:cubicBezTo>
                    <a:pt x="9281891" y="3099295"/>
                    <a:pt x="9267674" y="3033084"/>
                    <a:pt x="9252065" y="2967107"/>
                  </a:cubicBezTo>
                  <a:cubicBezTo>
                    <a:pt x="9244261" y="2934167"/>
                    <a:pt x="9235959" y="2901273"/>
                    <a:pt x="9227211" y="2868473"/>
                  </a:cubicBezTo>
                  <a:lnTo>
                    <a:pt x="9220699" y="2844426"/>
                  </a:lnTo>
                  <a:lnTo>
                    <a:pt x="9213740" y="2820191"/>
                  </a:lnTo>
                  <a:cubicBezTo>
                    <a:pt x="9209216" y="2804049"/>
                    <a:pt x="9204345" y="2787768"/>
                    <a:pt x="9199374" y="2771438"/>
                  </a:cubicBezTo>
                  <a:cubicBezTo>
                    <a:pt x="9159855" y="2641086"/>
                    <a:pt x="9114272" y="2512099"/>
                    <a:pt x="9061829" y="2385418"/>
                  </a:cubicBezTo>
                  <a:cubicBezTo>
                    <a:pt x="9035582" y="2322077"/>
                    <a:pt x="9008043" y="2259160"/>
                    <a:pt x="8978865" y="2196855"/>
                  </a:cubicBezTo>
                  <a:lnTo>
                    <a:pt x="8956694" y="2150219"/>
                  </a:lnTo>
                  <a:lnTo>
                    <a:pt x="8934176" y="2103914"/>
                  </a:lnTo>
                  <a:cubicBezTo>
                    <a:pt x="8918915" y="2073091"/>
                    <a:pt x="8903157" y="2042032"/>
                    <a:pt x="8887151" y="2011350"/>
                  </a:cubicBezTo>
                  <a:cubicBezTo>
                    <a:pt x="8854988" y="1949891"/>
                    <a:pt x="8822082" y="1888810"/>
                    <a:pt x="8787533" y="1828527"/>
                  </a:cubicBezTo>
                  <a:lnTo>
                    <a:pt x="8761485" y="1783398"/>
                  </a:lnTo>
                  <a:lnTo>
                    <a:pt x="8734791" y="1737893"/>
                  </a:lnTo>
                  <a:cubicBezTo>
                    <a:pt x="8717047" y="1707823"/>
                    <a:pt x="8699200" y="1678363"/>
                    <a:pt x="8680808" y="1648812"/>
                  </a:cubicBezTo>
                  <a:cubicBezTo>
                    <a:pt x="8644322" y="1589658"/>
                    <a:pt x="8606194" y="1531118"/>
                    <a:pt x="8567024" y="1472906"/>
                  </a:cubicBezTo>
                  <a:lnTo>
                    <a:pt x="8537446" y="1429330"/>
                  </a:lnTo>
                  <a:lnTo>
                    <a:pt x="8507423" y="1385896"/>
                  </a:lnTo>
                  <a:cubicBezTo>
                    <a:pt x="8487390" y="1357284"/>
                    <a:pt x="8467158" y="1328719"/>
                    <a:pt x="8446529" y="1300295"/>
                  </a:cubicBezTo>
                  <a:cubicBezTo>
                    <a:pt x="8405271" y="1243496"/>
                    <a:pt x="8362718" y="1187120"/>
                    <a:pt x="8319224" y="1131026"/>
                  </a:cubicBezTo>
                  <a:lnTo>
                    <a:pt x="8286366" y="1089050"/>
                  </a:lnTo>
                  <a:lnTo>
                    <a:pt x="8270161" y="1068439"/>
                  </a:lnTo>
                  <a:lnTo>
                    <a:pt x="8253856" y="1048156"/>
                  </a:lnTo>
                  <a:cubicBezTo>
                    <a:pt x="8231636" y="1020675"/>
                    <a:pt x="8209117" y="993381"/>
                    <a:pt x="8186352" y="966275"/>
                  </a:cubicBezTo>
                  <a:cubicBezTo>
                    <a:pt x="8140917" y="911922"/>
                    <a:pt x="8094240" y="858417"/>
                    <a:pt x="8046768" y="805429"/>
                  </a:cubicBezTo>
                  <a:lnTo>
                    <a:pt x="8010927" y="765853"/>
                  </a:lnTo>
                  <a:lnTo>
                    <a:pt x="7974788" y="726653"/>
                  </a:lnTo>
                  <a:cubicBezTo>
                    <a:pt x="7950382" y="700489"/>
                    <a:pt x="7925824" y="674465"/>
                    <a:pt x="7901070" y="648724"/>
                  </a:cubicBezTo>
                  <a:cubicBezTo>
                    <a:pt x="7851510" y="597289"/>
                    <a:pt x="7801404" y="546514"/>
                    <a:pt x="7750054" y="497008"/>
                  </a:cubicBezTo>
                  <a:cubicBezTo>
                    <a:pt x="7698902" y="447644"/>
                    <a:pt x="7645913" y="398938"/>
                    <a:pt x="7592277" y="351221"/>
                  </a:cubicBezTo>
                  <a:cubicBezTo>
                    <a:pt x="7484856" y="255786"/>
                    <a:pt x="7373308" y="164304"/>
                    <a:pt x="7257734" y="76964"/>
                  </a:cubicBezTo>
                  <a:close/>
                  <a:moveTo>
                    <a:pt x="1886601" y="0"/>
                  </a:moveTo>
                  <a:lnTo>
                    <a:pt x="2292926" y="0"/>
                  </a:lnTo>
                  <a:lnTo>
                    <a:pt x="2135542" y="117781"/>
                  </a:lnTo>
                  <a:cubicBezTo>
                    <a:pt x="2078998" y="162280"/>
                    <a:pt x="2023659" y="208045"/>
                    <a:pt x="1969576" y="254986"/>
                  </a:cubicBezTo>
                  <a:cubicBezTo>
                    <a:pt x="1861309" y="348820"/>
                    <a:pt x="1758064" y="447314"/>
                    <a:pt x="1659938" y="549855"/>
                  </a:cubicBezTo>
                  <a:cubicBezTo>
                    <a:pt x="1266987" y="960346"/>
                    <a:pt x="953820" y="1431495"/>
                    <a:pt x="729383" y="1936480"/>
                  </a:cubicBezTo>
                  <a:cubicBezTo>
                    <a:pt x="673260" y="2062362"/>
                    <a:pt x="622855" y="2190972"/>
                    <a:pt x="578465" y="2320807"/>
                  </a:cubicBezTo>
                  <a:cubicBezTo>
                    <a:pt x="534125" y="2450687"/>
                    <a:pt x="496147" y="2582216"/>
                    <a:pt x="465080" y="2714875"/>
                  </a:cubicBezTo>
                  <a:cubicBezTo>
                    <a:pt x="449769" y="2780991"/>
                    <a:pt x="435850" y="2848191"/>
                    <a:pt x="423820" y="2915436"/>
                  </a:cubicBezTo>
                  <a:cubicBezTo>
                    <a:pt x="411840" y="2982731"/>
                    <a:pt x="401054" y="3050260"/>
                    <a:pt x="392355" y="3118071"/>
                  </a:cubicBezTo>
                  <a:cubicBezTo>
                    <a:pt x="374509" y="3253646"/>
                    <a:pt x="363424" y="3389880"/>
                    <a:pt x="358801" y="3526915"/>
                  </a:cubicBezTo>
                  <a:cubicBezTo>
                    <a:pt x="349009" y="3800843"/>
                    <a:pt x="366357" y="4075570"/>
                    <a:pt x="410350" y="4348226"/>
                  </a:cubicBezTo>
                  <a:cubicBezTo>
                    <a:pt x="421286" y="4416132"/>
                    <a:pt x="434209" y="4483660"/>
                    <a:pt x="449022" y="4551049"/>
                  </a:cubicBezTo>
                  <a:cubicBezTo>
                    <a:pt x="463737" y="4618436"/>
                    <a:pt x="480389" y="4685588"/>
                    <a:pt x="498882" y="4752365"/>
                  </a:cubicBezTo>
                  <a:cubicBezTo>
                    <a:pt x="517373" y="4819141"/>
                    <a:pt x="537704" y="4885635"/>
                    <a:pt x="559775" y="4951657"/>
                  </a:cubicBezTo>
                  <a:cubicBezTo>
                    <a:pt x="581946" y="5017775"/>
                    <a:pt x="605358" y="5083375"/>
                    <a:pt x="631406" y="5147986"/>
                  </a:cubicBezTo>
                  <a:cubicBezTo>
                    <a:pt x="734055" y="5407608"/>
                    <a:pt x="865188" y="5658570"/>
                    <a:pt x="1023461" y="5893957"/>
                  </a:cubicBezTo>
                  <a:cubicBezTo>
                    <a:pt x="1181487" y="6129578"/>
                    <a:pt x="1367051" y="6349247"/>
                    <a:pt x="1575880" y="6547646"/>
                  </a:cubicBezTo>
                  <a:cubicBezTo>
                    <a:pt x="1680269" y="6646916"/>
                    <a:pt x="1790338" y="6740939"/>
                    <a:pt x="1905228" y="6829468"/>
                  </a:cubicBezTo>
                  <a:lnTo>
                    <a:pt x="1944230" y="6858000"/>
                  </a:lnTo>
                  <a:lnTo>
                    <a:pt x="1372541" y="6858000"/>
                  </a:lnTo>
                  <a:lnTo>
                    <a:pt x="1115251" y="6590005"/>
                  </a:lnTo>
                  <a:cubicBezTo>
                    <a:pt x="418530" y="5790792"/>
                    <a:pt x="0" y="4766182"/>
                    <a:pt x="0" y="3649031"/>
                  </a:cubicBezTo>
                  <a:cubicBezTo>
                    <a:pt x="0" y="2212695"/>
                    <a:pt x="691856" y="929334"/>
                    <a:pt x="1777294" y="81317"/>
                  </a:cubicBezTo>
                  <a:close/>
                </a:path>
              </a:pathLst>
            </a:cu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2" name="Title 1">
            <a:extLst>
              <a:ext uri="{FF2B5EF4-FFF2-40B4-BE49-F238E27FC236}">
                <a16:creationId xmlns:a16="http://schemas.microsoft.com/office/drawing/2014/main" id="{EF28A799-8632-4A8F-AD8B-96AE14385955}"/>
              </a:ext>
            </a:extLst>
          </p:cNvPr>
          <p:cNvSpPr>
            <a:spLocks noGrp="1"/>
          </p:cNvSpPr>
          <p:nvPr>
            <p:ph type="ctrTitle"/>
          </p:nvPr>
        </p:nvSpPr>
        <p:spPr>
          <a:xfrm>
            <a:off x="3215729" y="1764407"/>
            <a:ext cx="5760846" cy="2310312"/>
          </a:xfrm>
        </p:spPr>
        <p:txBody>
          <a:bodyPr>
            <a:normAutofit/>
          </a:bodyPr>
          <a:lstStyle/>
          <a:p>
            <a:r>
              <a:rPr lang="en-US" sz="5200">
                <a:solidFill>
                  <a:schemeClr val="tx2"/>
                </a:solidFill>
              </a:rPr>
              <a:t>THANK YOU!</a:t>
            </a:r>
          </a:p>
        </p:txBody>
      </p:sp>
      <p:sp>
        <p:nvSpPr>
          <p:cNvPr id="3" name="Subtitle 2">
            <a:extLst>
              <a:ext uri="{FF2B5EF4-FFF2-40B4-BE49-F238E27FC236}">
                <a16:creationId xmlns:a16="http://schemas.microsoft.com/office/drawing/2014/main" id="{D01AEA25-0A85-471E-ADF8-1F61578915CD}"/>
              </a:ext>
            </a:extLst>
          </p:cNvPr>
          <p:cNvSpPr>
            <a:spLocks noGrp="1"/>
          </p:cNvSpPr>
          <p:nvPr>
            <p:ph type="subTitle" idx="1"/>
          </p:nvPr>
        </p:nvSpPr>
        <p:spPr>
          <a:xfrm>
            <a:off x="3215729" y="4165152"/>
            <a:ext cx="5760846" cy="682079"/>
          </a:xfrm>
        </p:spPr>
        <p:txBody>
          <a:bodyPr>
            <a:normAutofit fontScale="85000" lnSpcReduction="20000"/>
          </a:bodyPr>
          <a:lstStyle/>
          <a:p>
            <a:r>
              <a:rPr lang="en-US" dirty="0">
                <a:solidFill>
                  <a:schemeClr val="tx2"/>
                </a:solidFill>
              </a:rPr>
              <a:t>Joe Siegel</a:t>
            </a:r>
          </a:p>
          <a:p>
            <a:r>
              <a:rPr lang="en-US" dirty="0">
                <a:solidFill>
                  <a:schemeClr val="tx2"/>
                </a:solidFill>
              </a:rPr>
              <a:t>Siegel.joseph@epa.gov</a:t>
            </a:r>
          </a:p>
        </p:txBody>
      </p:sp>
    </p:spTree>
    <p:extLst>
      <p:ext uri="{BB962C8B-B14F-4D97-AF65-F5344CB8AC3E}">
        <p14:creationId xmlns:p14="http://schemas.microsoft.com/office/powerpoint/2010/main" val="3097415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971361-EA61-4B08-B1FD-988303D33C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C5971361-EA61-4B08-B1FD-988303D33C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2B178B4-CDED-454C-BED2-2E2B10ADA703}"/>
              </a:ext>
            </a:extLst>
          </p:cNvPr>
          <p:cNvSpPr>
            <a:spLocks noGrp="1"/>
          </p:cNvSpPr>
          <p:nvPr>
            <p:ph type="ctrTitle"/>
          </p:nvPr>
        </p:nvSpPr>
        <p:spPr/>
        <p:txBody>
          <a:bodyPr vert="horz"/>
          <a:lstStyle/>
          <a:p>
            <a:r>
              <a:rPr lang="en-US"/>
              <a:t>IRA Overview</a:t>
            </a:r>
          </a:p>
        </p:txBody>
      </p:sp>
      <p:sp>
        <p:nvSpPr>
          <p:cNvPr id="7" name="Text Placeholder 6">
            <a:extLst>
              <a:ext uri="{FF2B5EF4-FFF2-40B4-BE49-F238E27FC236}">
                <a16:creationId xmlns:a16="http://schemas.microsoft.com/office/drawing/2014/main" id="{54E9E228-B02C-3941-B458-23CB2D67B476}"/>
              </a:ext>
            </a:extLst>
          </p:cNvPr>
          <p:cNvSpPr>
            <a:spLocks noGrp="1"/>
          </p:cNvSpPr>
          <p:nvPr>
            <p:ph type="body" sz="quarter" idx="14"/>
          </p:nvPr>
        </p:nvSpPr>
        <p:spPr>
          <a:xfrm>
            <a:off x="1627322" y="1353529"/>
            <a:ext cx="9860383" cy="5011288"/>
          </a:xfrm>
        </p:spPr>
        <p:txBody>
          <a:bodyPr>
            <a:noAutofit/>
          </a:bodyPr>
          <a:lstStyle/>
          <a:p>
            <a:pPr marL="285750" indent="-285750">
              <a:spcBef>
                <a:spcPts val="200"/>
              </a:spcBef>
              <a:spcAft>
                <a:spcPts val="600"/>
              </a:spcAft>
              <a:buFont typeface="Arial" panose="020B0604020202020204" pitchFamily="34" charset="0"/>
              <a:buChar char="•"/>
            </a:pPr>
            <a:r>
              <a:rPr lang="en-US" sz="2500" b="1"/>
              <a:t>The Inflation Reduction Act (IRA) makes historic investments in climate action </a:t>
            </a:r>
            <a:r>
              <a:rPr lang="en-US" sz="2500"/>
              <a:t>that are expected to reduce U.S. emissions ~40% by 2030 while supporting disadvantaged communities and the clean energy industrial base. </a:t>
            </a:r>
          </a:p>
          <a:p>
            <a:pPr marL="285750" indent="-285750">
              <a:spcBef>
                <a:spcPts val="200"/>
              </a:spcBef>
              <a:spcAft>
                <a:spcPts val="600"/>
              </a:spcAft>
              <a:buFont typeface="Arial" panose="020B0604020202020204" pitchFamily="34" charset="0"/>
              <a:buChar char="•"/>
            </a:pPr>
            <a:r>
              <a:rPr lang="en-US" sz="2500" b="1"/>
              <a:t>IRA investments will drive significant emissions reductions </a:t>
            </a:r>
            <a:r>
              <a:rPr lang="en-US" sz="2500"/>
              <a:t>over the next decade while also laying the groundwork for long-term decarbonization of hard-to-abate sectors. </a:t>
            </a:r>
          </a:p>
          <a:p>
            <a:pPr marL="285750" indent="-285750">
              <a:spcBef>
                <a:spcPts val="200"/>
              </a:spcBef>
              <a:spcAft>
                <a:spcPts val="600"/>
              </a:spcAft>
              <a:buFont typeface="Arial" panose="020B0604020202020204" pitchFamily="34" charset="0"/>
              <a:buChar char="•"/>
            </a:pPr>
            <a:r>
              <a:rPr lang="en-US" sz="2500" b="1"/>
              <a:t>EPA will play a major role in delivering these programs. </a:t>
            </a:r>
            <a:r>
              <a:rPr lang="en-US" sz="2500"/>
              <a:t>The Agency received $41.5 billion in appropriated funds and expects to receive an additional $11.7 billion in future revenue from reinstating the Superfund Tax on oil and gas production. Funds from methane waste emissions charges will go to the general Treasury.</a:t>
            </a:r>
          </a:p>
        </p:txBody>
      </p:sp>
      <p:sp>
        <p:nvSpPr>
          <p:cNvPr id="2" name="Slide Number Placeholder 1">
            <a:extLst>
              <a:ext uri="{FF2B5EF4-FFF2-40B4-BE49-F238E27FC236}">
                <a16:creationId xmlns:a16="http://schemas.microsoft.com/office/drawing/2014/main" id="{6326F027-1613-4A40-A09C-D462960FAEBF}"/>
              </a:ext>
            </a:extLst>
          </p:cNvPr>
          <p:cNvSpPr>
            <a:spLocks noGrp="1"/>
          </p:cNvSpPr>
          <p:nvPr>
            <p:ph type="sldNum" sz="quarter" idx="12"/>
          </p:nvPr>
        </p:nvSpPr>
        <p:spPr/>
        <p:txBody>
          <a:bodyPr/>
          <a:lstStyle/>
          <a:p>
            <a:fld id="{31FEFF75-79D2-EE46-877B-299D1510E681}" type="slidenum">
              <a:rPr lang="en-US" smtClean="0"/>
              <a:t>3</a:t>
            </a:fld>
            <a:endParaRPr lang="en-US"/>
          </a:p>
        </p:txBody>
      </p:sp>
    </p:spTree>
    <p:extLst>
      <p:ext uri="{BB962C8B-B14F-4D97-AF65-F5344CB8AC3E}">
        <p14:creationId xmlns:p14="http://schemas.microsoft.com/office/powerpoint/2010/main" val="39006368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279D0CA-8277-4E95-9047-86308D1D1FC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8" progId="TCLayout.ActiveDocument.1">
                  <p:embed/>
                </p:oleObj>
              </mc:Choice>
              <mc:Fallback>
                <p:oleObj name="think-cell Slide" r:id="rId9" imgW="347" imgH="348" progId="TCLayout.ActiveDocument.1">
                  <p:embed/>
                  <p:pic>
                    <p:nvPicPr>
                      <p:cNvPr id="7" name="Object 6" hidden="1">
                        <a:extLst>
                          <a:ext uri="{FF2B5EF4-FFF2-40B4-BE49-F238E27FC236}">
                            <a16:creationId xmlns:a16="http://schemas.microsoft.com/office/drawing/2014/main" id="{5279D0CA-8277-4E95-9047-86308D1D1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532D9C6-286C-4044-98A7-EDB8E9EF2624}"/>
              </a:ext>
            </a:extLst>
          </p:cNvPr>
          <p:cNvSpPr>
            <a:spLocks noGrp="1"/>
          </p:cNvSpPr>
          <p:nvPr>
            <p:ph type="sldNum" sz="quarter" idx="12"/>
          </p:nvPr>
        </p:nvSpPr>
        <p:spPr/>
        <p:txBody>
          <a:bodyPr/>
          <a:lstStyle/>
          <a:p>
            <a:fld id="{31FEFF75-79D2-EE46-877B-299D1510E681}" type="slidenum">
              <a:rPr lang="en-US" smtClean="0"/>
              <a:t>4</a:t>
            </a:fld>
            <a:endParaRPr lang="en-US"/>
          </a:p>
        </p:txBody>
      </p:sp>
      <p:sp>
        <p:nvSpPr>
          <p:cNvPr id="4" name="Title 3">
            <a:extLst>
              <a:ext uri="{FF2B5EF4-FFF2-40B4-BE49-F238E27FC236}">
                <a16:creationId xmlns:a16="http://schemas.microsoft.com/office/drawing/2014/main" id="{D0325F7C-2E49-4971-B363-BE03BC81CC8A}"/>
              </a:ext>
            </a:extLst>
          </p:cNvPr>
          <p:cNvSpPr>
            <a:spLocks noGrp="1"/>
          </p:cNvSpPr>
          <p:nvPr>
            <p:ph type="ctrTitle"/>
          </p:nvPr>
        </p:nvSpPr>
        <p:spPr/>
        <p:txBody>
          <a:bodyPr vert="horz"/>
          <a:lstStyle/>
          <a:p>
            <a:r>
              <a:rPr lang="en-US" sz="3600"/>
              <a:t>Breakdown of Climate &amp; Energy Funding</a:t>
            </a:r>
          </a:p>
        </p:txBody>
      </p:sp>
      <p:cxnSp>
        <p:nvCxnSpPr>
          <p:cNvPr id="217" name="Straight Connector 216">
            <a:extLst>
              <a:ext uri="{FF2B5EF4-FFF2-40B4-BE49-F238E27FC236}">
                <a16:creationId xmlns:a16="http://schemas.microsoft.com/office/drawing/2014/main" id="{829DE107-E986-460B-8AC1-C848E4AD23CD}"/>
              </a:ext>
            </a:extLst>
          </p:cNvPr>
          <p:cNvCxnSpPr/>
          <p:nvPr/>
        </p:nvCxnSpPr>
        <p:spPr>
          <a:xfrm>
            <a:off x="392623" y="2849563"/>
            <a:ext cx="11369068"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A7B30FFA-6EFE-4AA4-827A-F19D995C9E1E}"/>
              </a:ext>
            </a:extLst>
          </p:cNvPr>
          <p:cNvCxnSpPr/>
          <p:nvPr/>
        </p:nvCxnSpPr>
        <p:spPr>
          <a:xfrm>
            <a:off x="392623" y="3606800"/>
            <a:ext cx="11369068"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2DBB6138-AD42-4730-907F-8989C4F28E92}"/>
              </a:ext>
            </a:extLst>
          </p:cNvPr>
          <p:cNvCxnSpPr>
            <a:cxnSpLocks/>
          </p:cNvCxnSpPr>
          <p:nvPr/>
        </p:nvCxnSpPr>
        <p:spPr>
          <a:xfrm>
            <a:off x="392623" y="4373563"/>
            <a:ext cx="4185724"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D5D7E821-859F-4D33-AA74-3D87B81E2549}"/>
              </a:ext>
            </a:extLst>
          </p:cNvPr>
          <p:cNvCxnSpPr/>
          <p:nvPr/>
        </p:nvCxnSpPr>
        <p:spPr>
          <a:xfrm>
            <a:off x="392623" y="5140325"/>
            <a:ext cx="4185724"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B6AD6EE7-2640-4D1A-862C-EC0AA5EEFD55}"/>
              </a:ext>
            </a:extLst>
          </p:cNvPr>
          <p:cNvCxnSpPr/>
          <p:nvPr/>
        </p:nvCxnSpPr>
        <p:spPr>
          <a:xfrm>
            <a:off x="361320" y="6005513"/>
            <a:ext cx="4185724"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26" name="Text Placeholder 4">
            <a:extLst>
              <a:ext uri="{FF2B5EF4-FFF2-40B4-BE49-F238E27FC236}">
                <a16:creationId xmlns:a16="http://schemas.microsoft.com/office/drawing/2014/main" id="{39803038-998A-4861-BFED-4C9EAEABC27B}"/>
              </a:ext>
            </a:extLst>
          </p:cNvPr>
          <p:cNvSpPr txBox="1">
            <a:spLocks/>
          </p:cNvSpPr>
          <p:nvPr/>
        </p:nvSpPr>
        <p:spPr>
          <a:xfrm>
            <a:off x="388147" y="1589804"/>
            <a:ext cx="6531399" cy="31008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600" b="1"/>
              <a:t>Total Climate and Energy Funding</a:t>
            </a:r>
            <a:r>
              <a:rPr lang="en-US" sz="1600"/>
              <a:t> ($, billions)</a:t>
            </a:r>
          </a:p>
        </p:txBody>
      </p:sp>
      <p:sp>
        <p:nvSpPr>
          <p:cNvPr id="227" name="Text Placeholder 4">
            <a:extLst>
              <a:ext uri="{FF2B5EF4-FFF2-40B4-BE49-F238E27FC236}">
                <a16:creationId xmlns:a16="http://schemas.microsoft.com/office/drawing/2014/main" id="{5C06ED8A-F190-41AE-B295-EE42960647F0}"/>
              </a:ext>
            </a:extLst>
          </p:cNvPr>
          <p:cNvSpPr txBox="1">
            <a:spLocks/>
          </p:cNvSpPr>
          <p:nvPr/>
        </p:nvSpPr>
        <p:spPr>
          <a:xfrm>
            <a:off x="388147" y="6339888"/>
            <a:ext cx="4737767" cy="24001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buNone/>
            </a:pPr>
            <a:r>
              <a:rPr lang="en-US" sz="1000"/>
              <a:t>1. Preliminary Joint Committee on Taxation analysis. Further CBO projections pending.</a:t>
            </a:r>
          </a:p>
          <a:p>
            <a:pPr marL="0" indent="0">
              <a:spcBef>
                <a:spcPts val="300"/>
              </a:spcBef>
              <a:buNone/>
            </a:pPr>
            <a:r>
              <a:rPr lang="en-US" sz="1000"/>
              <a:t>Source: Senate Democrats, Joint Committee on Taxation, CBO</a:t>
            </a:r>
          </a:p>
        </p:txBody>
      </p:sp>
      <p:sp>
        <p:nvSpPr>
          <p:cNvPr id="229" name="TextBox 228">
            <a:extLst>
              <a:ext uri="{FF2B5EF4-FFF2-40B4-BE49-F238E27FC236}">
                <a16:creationId xmlns:a16="http://schemas.microsoft.com/office/drawing/2014/main" id="{962D6E70-4E61-45D2-B760-E3AED125B973}"/>
              </a:ext>
            </a:extLst>
          </p:cNvPr>
          <p:cNvSpPr txBox="1"/>
          <p:nvPr/>
        </p:nvSpPr>
        <p:spPr>
          <a:xfrm>
            <a:off x="5125914" y="2194830"/>
            <a:ext cx="6635777" cy="584775"/>
          </a:xfrm>
          <a:prstGeom prst="rect">
            <a:avLst/>
          </a:prstGeom>
          <a:noFill/>
        </p:spPr>
        <p:txBody>
          <a:bodyPr wrap="square" rtlCol="0">
            <a:spAutoFit/>
          </a:bodyPr>
          <a:lstStyle/>
          <a:p>
            <a:pPr>
              <a:spcAft>
                <a:spcPts val="600"/>
              </a:spcAft>
            </a:pPr>
            <a:r>
              <a:rPr lang="en-US" sz="1600"/>
              <a:t>Significant support for the electricity sector (e.g., Production &amp; Investment Tax Credits), manufacturing, energy efficiency, electric vehicles, low carbon fuels.</a:t>
            </a:r>
            <a:r>
              <a:rPr lang="en-US" sz="1600" baseline="30000"/>
              <a:t>1</a:t>
            </a:r>
            <a:r>
              <a:rPr lang="en-US" sz="1600"/>
              <a:t> </a:t>
            </a:r>
          </a:p>
        </p:txBody>
      </p:sp>
      <p:sp>
        <p:nvSpPr>
          <p:cNvPr id="230" name="TextBox 229">
            <a:extLst>
              <a:ext uri="{FF2B5EF4-FFF2-40B4-BE49-F238E27FC236}">
                <a16:creationId xmlns:a16="http://schemas.microsoft.com/office/drawing/2014/main" id="{43CAB1E7-939F-46BB-9FF5-8310C4E70A15}"/>
              </a:ext>
            </a:extLst>
          </p:cNvPr>
          <p:cNvSpPr txBox="1"/>
          <p:nvPr/>
        </p:nvSpPr>
        <p:spPr>
          <a:xfrm>
            <a:off x="5125914" y="2906712"/>
            <a:ext cx="6635777" cy="584200"/>
          </a:xfrm>
          <a:prstGeom prst="rect">
            <a:avLst/>
          </a:prstGeom>
          <a:noFill/>
        </p:spPr>
        <p:txBody>
          <a:bodyPr wrap="square" rtlCol="0">
            <a:spAutoFit/>
          </a:bodyPr>
          <a:lstStyle/>
          <a:p>
            <a:pPr>
              <a:spcAft>
                <a:spcPts val="600"/>
              </a:spcAft>
            </a:pPr>
            <a:r>
              <a:rPr lang="en-US" sz="1600"/>
              <a:t>Includes $41.5 billion in appropriated spending and $11.7 billion in new Superfund tax revenue. </a:t>
            </a:r>
          </a:p>
        </p:txBody>
      </p:sp>
      <p:sp>
        <p:nvSpPr>
          <p:cNvPr id="29" name="TextBox 28">
            <a:extLst>
              <a:ext uri="{FF2B5EF4-FFF2-40B4-BE49-F238E27FC236}">
                <a16:creationId xmlns:a16="http://schemas.microsoft.com/office/drawing/2014/main" id="{F4B62318-228F-410A-89E2-329508676132}"/>
              </a:ext>
            </a:extLst>
          </p:cNvPr>
          <p:cNvSpPr txBox="1"/>
          <p:nvPr/>
        </p:nvSpPr>
        <p:spPr>
          <a:xfrm>
            <a:off x="5125914" y="3597275"/>
            <a:ext cx="6635777" cy="2846933"/>
          </a:xfrm>
          <a:prstGeom prst="rect">
            <a:avLst/>
          </a:prstGeom>
          <a:noFill/>
        </p:spPr>
        <p:txBody>
          <a:bodyPr wrap="square" rtlCol="0">
            <a:spAutoFit/>
          </a:bodyPr>
          <a:lstStyle/>
          <a:p>
            <a:pPr>
              <a:spcAft>
                <a:spcPts val="600"/>
              </a:spcAft>
            </a:pPr>
            <a:r>
              <a:rPr lang="en-US" sz="1600"/>
              <a:t>At least 15 other agencies received appropriated funding in the legislation. USDA and DOE were the other two major recipients. </a:t>
            </a:r>
          </a:p>
          <a:p>
            <a:pPr>
              <a:spcAft>
                <a:spcPts val="600"/>
              </a:spcAft>
            </a:pPr>
            <a:r>
              <a:rPr lang="en-US" sz="1600"/>
              <a:t>Other agencies that received over $1B in appropriations include: </a:t>
            </a:r>
          </a:p>
          <a:p>
            <a:pPr marL="285750" indent="-285750">
              <a:spcAft>
                <a:spcPts val="600"/>
              </a:spcAft>
              <a:buFont typeface="Arial" panose="020B0604020202020204" pitchFamily="34" charset="0"/>
              <a:buChar char="•"/>
            </a:pPr>
            <a:r>
              <a:rPr lang="en-US" sz="1600"/>
              <a:t>Department of the Interior ($6.7B)</a:t>
            </a:r>
          </a:p>
          <a:p>
            <a:pPr marL="285750" indent="-285750">
              <a:spcAft>
                <a:spcPts val="600"/>
              </a:spcAft>
              <a:buFont typeface="Arial" panose="020B0604020202020204" pitchFamily="34" charset="0"/>
              <a:buChar char="•"/>
            </a:pPr>
            <a:r>
              <a:rPr lang="en-US" sz="1600"/>
              <a:t>Department of Transportation ($5.4B)</a:t>
            </a:r>
          </a:p>
          <a:p>
            <a:pPr marL="285750" indent="-285750">
              <a:spcAft>
                <a:spcPts val="600"/>
              </a:spcAft>
              <a:buFont typeface="Arial" panose="020B0604020202020204" pitchFamily="34" charset="0"/>
              <a:buChar char="•"/>
            </a:pPr>
            <a:r>
              <a:rPr lang="en-US" sz="1600"/>
              <a:t>General Services Administrator ($3.4B)</a:t>
            </a:r>
          </a:p>
          <a:p>
            <a:pPr marL="285750" indent="-285750">
              <a:spcAft>
                <a:spcPts val="600"/>
              </a:spcAft>
              <a:buFont typeface="Arial" panose="020B0604020202020204" pitchFamily="34" charset="0"/>
              <a:buChar char="•"/>
            </a:pPr>
            <a:r>
              <a:rPr lang="en-US" sz="1600"/>
              <a:t>Department of Commerce ($3.3B)</a:t>
            </a:r>
          </a:p>
          <a:p>
            <a:pPr marL="285750" indent="-285750">
              <a:spcAft>
                <a:spcPts val="600"/>
              </a:spcAft>
              <a:buFont typeface="Arial" panose="020B0604020202020204" pitchFamily="34" charset="0"/>
              <a:buChar char="•"/>
            </a:pPr>
            <a:r>
              <a:rPr lang="en-US" sz="1600"/>
              <a:t>U.S. Postal Service ($3B) </a:t>
            </a:r>
            <a:r>
              <a:rPr lang="en-US" sz="1600">
                <a:sym typeface="Wingdings" panose="05000000000000000000" pitchFamily="2" charset="2"/>
              </a:rPr>
              <a:t> </a:t>
            </a:r>
            <a:r>
              <a:rPr lang="en-US" sz="1600" i="1">
                <a:sym typeface="Wingdings" panose="05000000000000000000" pitchFamily="2" charset="2"/>
              </a:rPr>
              <a:t>Electric postal trucks!</a:t>
            </a:r>
            <a:endParaRPr lang="en-US" sz="1600" i="1"/>
          </a:p>
          <a:p>
            <a:pPr marL="285750" indent="-285750">
              <a:spcAft>
                <a:spcPts val="600"/>
              </a:spcAft>
              <a:buFont typeface="Arial" panose="020B0604020202020204" pitchFamily="34" charset="0"/>
              <a:buChar char="•"/>
            </a:pPr>
            <a:r>
              <a:rPr lang="en-US" sz="1600"/>
              <a:t>Housing and Urban Development Agency ($1B)</a:t>
            </a:r>
          </a:p>
        </p:txBody>
      </p:sp>
      <p:graphicFrame>
        <p:nvGraphicFramePr>
          <p:cNvPr id="64" name="Chart 63">
            <a:extLst>
              <a:ext uri="{FF2B5EF4-FFF2-40B4-BE49-F238E27FC236}">
                <a16:creationId xmlns:a16="http://schemas.microsoft.com/office/drawing/2014/main" id="{C306D48A-987B-480C-8419-A830CA185EE8}"/>
              </a:ext>
            </a:extLst>
          </p:cNvPr>
          <p:cNvGraphicFramePr/>
          <p:nvPr>
            <p:custDataLst>
              <p:tags r:id="rId2"/>
            </p:custDataLst>
          </p:nvPr>
        </p:nvGraphicFramePr>
        <p:xfrm>
          <a:off x="1775460" y="1973263"/>
          <a:ext cx="2932112" cy="4021137"/>
        </p:xfrm>
        <a:graphic>
          <a:graphicData uri="http://schemas.openxmlformats.org/drawingml/2006/chart">
            <c:chart xmlns:c="http://schemas.openxmlformats.org/drawingml/2006/chart" xmlns:r="http://schemas.openxmlformats.org/officeDocument/2006/relationships" r:id="rId11"/>
          </a:graphicData>
        </a:graphic>
      </p:graphicFrame>
      <p:sp>
        <p:nvSpPr>
          <p:cNvPr id="52" name="Text Placeholder 2">
            <a:extLst>
              <a:ext uri="{FF2B5EF4-FFF2-40B4-BE49-F238E27FC236}">
                <a16:creationId xmlns:a16="http://schemas.microsoft.com/office/drawing/2014/main" id="{41845A71-C369-2A42-A14F-2BD1985F756C}"/>
              </a:ext>
            </a:extLst>
          </p:cNvPr>
          <p:cNvSpPr>
            <a:spLocks noGrp="1"/>
          </p:cNvSpPr>
          <p:nvPr>
            <p:custDataLst>
              <p:tags r:id="rId3"/>
            </p:custDataLst>
          </p:nvPr>
        </p:nvSpPr>
        <p:spPr bwMode="auto">
          <a:xfrm>
            <a:off x="968499" y="5334000"/>
            <a:ext cx="64293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8F7E6C8-8B1B-4C24-97D8-12E1D0918301}" type="datetime'O''''''''''''''''''''''''''''''t''''''''''''''''''''''h''er'">
              <a:rPr lang="en-US" altLang="en-US" sz="1400" smtClean="0">
                <a:effectLst/>
              </a:rPr>
              <a:pPr marL="0" indent="0" algn="r">
                <a:spcBef>
                  <a:spcPct val="0"/>
                </a:spcBef>
                <a:spcAft>
                  <a:spcPct val="0"/>
                </a:spcAft>
                <a:buNone/>
              </a:pPr>
              <a:t>Other</a:t>
            </a:fld>
            <a:r>
              <a:rPr lang="en-US" altLang="en-US" sz="1400">
                <a:effectLst/>
              </a:rPr>
              <a:t> </a:t>
            </a:r>
            <a:br>
              <a:rPr lang="en-US" altLang="en-US" sz="1400">
                <a:effectLst/>
              </a:rPr>
            </a:br>
            <a:r>
              <a:rPr lang="en-US" altLang="en-US" sz="1400">
                <a:effectLst/>
              </a:rPr>
              <a:t>Agencies</a:t>
            </a:r>
            <a:endParaRPr lang="en-US" sz="1400"/>
          </a:p>
        </p:txBody>
      </p:sp>
      <p:sp>
        <p:nvSpPr>
          <p:cNvPr id="48" name="Text Placeholder 2">
            <a:extLst>
              <a:ext uri="{FF2B5EF4-FFF2-40B4-BE49-F238E27FC236}">
                <a16:creationId xmlns:a16="http://schemas.microsoft.com/office/drawing/2014/main" id="{41845A71-C369-2A42-A14F-2BD1985F756C}"/>
              </a:ext>
            </a:extLst>
          </p:cNvPr>
          <p:cNvSpPr>
            <a:spLocks noGrp="1"/>
          </p:cNvSpPr>
          <p:nvPr>
            <p:custDataLst>
              <p:tags r:id="rId4"/>
            </p:custDataLst>
          </p:nvPr>
        </p:nvSpPr>
        <p:spPr bwMode="auto">
          <a:xfrm>
            <a:off x="827212" y="2346325"/>
            <a:ext cx="784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0B07642-0A4F-4F57-8014-D48B9EA1AFDF}" type="datetime'''''''T''a''''''''''''x ''''C''re''''d''''''''''i''''''''ts'">
              <a:rPr lang="en-US" altLang="en-US" sz="1400" smtClean="0">
                <a:effectLst/>
              </a:rPr>
              <a:pPr marL="0" indent="0" algn="r">
                <a:spcBef>
                  <a:spcPct val="0"/>
                </a:spcBef>
                <a:spcAft>
                  <a:spcPct val="0"/>
                </a:spcAft>
                <a:buNone/>
              </a:pPr>
              <a:t>Tax Credits</a:t>
            </a:fld>
            <a:endParaRPr lang="en-US" sz="1400"/>
          </a:p>
        </p:txBody>
      </p:sp>
      <p:sp>
        <p:nvSpPr>
          <p:cNvPr id="49" name="Text Placeholder 2">
            <a:extLst>
              <a:ext uri="{FF2B5EF4-FFF2-40B4-BE49-F238E27FC236}">
                <a16:creationId xmlns:a16="http://schemas.microsoft.com/office/drawing/2014/main" id="{41845A71-C369-2A42-A14F-2BD1985F756C}"/>
              </a:ext>
            </a:extLst>
          </p:cNvPr>
          <p:cNvSpPr>
            <a:spLocks noGrp="1"/>
          </p:cNvSpPr>
          <p:nvPr>
            <p:custDataLst>
              <p:tags r:id="rId5"/>
            </p:custDataLst>
          </p:nvPr>
        </p:nvSpPr>
        <p:spPr bwMode="auto">
          <a:xfrm>
            <a:off x="1341562" y="3117850"/>
            <a:ext cx="2698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5D1AF97-24C5-4536-A50D-F3F85F4BA9BC}" type="datetime'''E''''''''P''''''A'''''''''''''''''''''">
              <a:rPr lang="en-US" altLang="en-US" sz="1400" smtClean="0">
                <a:effectLst/>
              </a:rPr>
              <a:pPr marL="0" indent="0" algn="r">
                <a:spcBef>
                  <a:spcPct val="0"/>
                </a:spcBef>
                <a:spcAft>
                  <a:spcPct val="0"/>
                </a:spcAft>
                <a:buNone/>
              </a:pPr>
              <a:t>EPA</a:t>
            </a:fld>
            <a:endParaRPr lang="en-US" sz="1400"/>
          </a:p>
        </p:txBody>
      </p:sp>
      <p:sp>
        <p:nvSpPr>
          <p:cNvPr id="50" name="Text Placeholder 2">
            <a:extLst>
              <a:ext uri="{FF2B5EF4-FFF2-40B4-BE49-F238E27FC236}">
                <a16:creationId xmlns:a16="http://schemas.microsoft.com/office/drawing/2014/main" id="{41845A71-C369-2A42-A14F-2BD1985F756C}"/>
              </a:ext>
            </a:extLst>
          </p:cNvPr>
          <p:cNvSpPr>
            <a:spLocks noGrp="1"/>
          </p:cNvSpPr>
          <p:nvPr>
            <p:custDataLst>
              <p:tags r:id="rId6"/>
            </p:custDataLst>
          </p:nvPr>
        </p:nvSpPr>
        <p:spPr bwMode="auto">
          <a:xfrm>
            <a:off x="1206624" y="3887788"/>
            <a:ext cx="4048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a:effectLst/>
              </a:rPr>
              <a:t>U.S. Department </a:t>
            </a:r>
          </a:p>
          <a:p>
            <a:pPr marL="0" indent="0" algn="r">
              <a:spcBef>
                <a:spcPct val="0"/>
              </a:spcBef>
              <a:spcAft>
                <a:spcPct val="0"/>
              </a:spcAft>
              <a:buNone/>
            </a:pPr>
            <a:r>
              <a:rPr lang="en-US" altLang="en-US" sz="1400">
                <a:effectLst/>
              </a:rPr>
              <a:t>of Agriculture</a:t>
            </a:r>
            <a:endParaRPr lang="en-US" sz="1400"/>
          </a:p>
        </p:txBody>
      </p:sp>
      <p:sp>
        <p:nvSpPr>
          <p:cNvPr id="51" name="Text Placeholder 2">
            <a:extLst>
              <a:ext uri="{FF2B5EF4-FFF2-40B4-BE49-F238E27FC236}">
                <a16:creationId xmlns:a16="http://schemas.microsoft.com/office/drawing/2014/main" id="{41845A71-C369-2A42-A14F-2BD1985F756C}"/>
              </a:ext>
            </a:extLst>
          </p:cNvPr>
          <p:cNvSpPr>
            <a:spLocks noGrp="1"/>
          </p:cNvSpPr>
          <p:nvPr>
            <p:custDataLst>
              <p:tags r:id="rId7"/>
            </p:custDataLst>
          </p:nvPr>
        </p:nvSpPr>
        <p:spPr bwMode="auto">
          <a:xfrm>
            <a:off x="1297112" y="4659313"/>
            <a:ext cx="3143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400">
                <a:effectLst/>
              </a:rPr>
              <a:t>Department </a:t>
            </a:r>
          </a:p>
          <a:p>
            <a:pPr marL="0" indent="0" algn="r">
              <a:spcBef>
                <a:spcPct val="0"/>
              </a:spcBef>
              <a:spcAft>
                <a:spcPct val="0"/>
              </a:spcAft>
              <a:buNone/>
            </a:pPr>
            <a:r>
              <a:rPr lang="en-US" altLang="en-US" sz="1400">
                <a:effectLst/>
              </a:rPr>
              <a:t>of Energy </a:t>
            </a:r>
            <a:endParaRPr lang="en-US" sz="1400"/>
          </a:p>
        </p:txBody>
      </p:sp>
      <p:sp>
        <p:nvSpPr>
          <p:cNvPr id="2" name="Footer Placeholder 1">
            <a:extLst>
              <a:ext uri="{FF2B5EF4-FFF2-40B4-BE49-F238E27FC236}">
                <a16:creationId xmlns:a16="http://schemas.microsoft.com/office/drawing/2014/main" id="{7E13A69B-FC4B-0A4D-48A5-AA2088F13DB6}"/>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50284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EAD6A4-5814-4861-B166-873AF52A7D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15EAD6A4-5814-4861-B166-873AF52A7D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A0235B7-A295-44E7-88B9-824D8904A9DF}"/>
              </a:ext>
            </a:extLst>
          </p:cNvPr>
          <p:cNvSpPr>
            <a:spLocks noGrp="1"/>
          </p:cNvSpPr>
          <p:nvPr>
            <p:ph type="sldNum" sz="quarter" idx="12"/>
          </p:nvPr>
        </p:nvSpPr>
        <p:spPr/>
        <p:txBody>
          <a:bodyPr/>
          <a:lstStyle/>
          <a:p>
            <a:fld id="{31FEFF75-79D2-EE46-877B-299D1510E681}" type="slidenum">
              <a:rPr lang="en-US" smtClean="0"/>
              <a:t>5</a:t>
            </a:fld>
            <a:endParaRPr lang="en-US"/>
          </a:p>
        </p:txBody>
      </p:sp>
      <p:sp>
        <p:nvSpPr>
          <p:cNvPr id="4" name="Title 3">
            <a:extLst>
              <a:ext uri="{FF2B5EF4-FFF2-40B4-BE49-F238E27FC236}">
                <a16:creationId xmlns:a16="http://schemas.microsoft.com/office/drawing/2014/main" id="{72546201-FF44-4566-AD90-675776B15862}"/>
              </a:ext>
            </a:extLst>
          </p:cNvPr>
          <p:cNvSpPr>
            <a:spLocks noGrp="1"/>
          </p:cNvSpPr>
          <p:nvPr>
            <p:ph type="ctrTitle"/>
          </p:nvPr>
        </p:nvSpPr>
        <p:spPr/>
        <p:txBody>
          <a:bodyPr vert="horz"/>
          <a:lstStyle/>
          <a:p>
            <a:r>
              <a:rPr lang="en-US" sz="3600"/>
              <a:t>EPA Programs</a:t>
            </a:r>
          </a:p>
        </p:txBody>
      </p:sp>
      <p:sp>
        <p:nvSpPr>
          <p:cNvPr id="13" name="TextBox 12">
            <a:extLst>
              <a:ext uri="{FF2B5EF4-FFF2-40B4-BE49-F238E27FC236}">
                <a16:creationId xmlns:a16="http://schemas.microsoft.com/office/drawing/2014/main" id="{4699F8F6-486F-4D25-AEAD-C13BC1B7D6A2}"/>
              </a:ext>
            </a:extLst>
          </p:cNvPr>
          <p:cNvSpPr txBox="1"/>
          <p:nvPr/>
        </p:nvSpPr>
        <p:spPr>
          <a:xfrm>
            <a:off x="392623" y="1479426"/>
            <a:ext cx="11369068" cy="4714111"/>
          </a:xfrm>
          <a:prstGeom prst="rect">
            <a:avLst/>
          </a:prstGeom>
          <a:noFill/>
        </p:spPr>
        <p:txBody>
          <a:bodyPr wrap="square" lIns="91440" tIns="45720" rIns="91440" bIns="45720" rtlCol="0" anchor="t">
            <a:spAutoFit/>
          </a:bodyPr>
          <a:lstStyle/>
          <a:p>
            <a:r>
              <a:rPr lang="en-US" sz="1600" b="1"/>
              <a:t>EPA received $41.5 billion in appropriations </a:t>
            </a:r>
            <a:r>
              <a:rPr lang="en-US" sz="1600"/>
              <a:t>to support 24 new and existing programs. This makes EPA the second largest recipient of discretionary funding after the U.S. Department of Agriculture.</a:t>
            </a:r>
          </a:p>
          <a:p>
            <a:endParaRPr lang="en-US" sz="1100"/>
          </a:p>
          <a:p>
            <a:r>
              <a:rPr lang="en-US" sz="1600" b="1"/>
              <a:t>Six new EPA programs account for 98% of this total funding</a:t>
            </a:r>
            <a:r>
              <a:rPr lang="en-US" sz="1600"/>
              <a:t>:</a:t>
            </a:r>
            <a:endParaRPr lang="en-US" sz="1600" b="1"/>
          </a:p>
          <a:p>
            <a:pPr marL="342900" indent="-342900">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Greenhouse Gas Reduction Fund ($27 billion) </a:t>
            </a:r>
            <a:r>
              <a:rPr lang="en-US" sz="1600">
                <a:effectLst/>
                <a:latin typeface="Calibri"/>
                <a:ea typeface="Times New Roman" panose="02020603050405020304" pitchFamily="18" charset="0"/>
                <a:cs typeface="Calibri"/>
              </a:rPr>
              <a:t>–</a:t>
            </a:r>
            <a:r>
              <a:rPr lang="en-US" sz="1600">
                <a:latin typeface="Calibri"/>
                <a:ea typeface="Times New Roman" panose="02020603050405020304" pitchFamily="18" charset="0"/>
                <a:cs typeface="Calibri"/>
              </a:rPr>
              <a:t> </a:t>
            </a:r>
            <a:r>
              <a:rPr lang="en-US" sz="1600" b="1">
                <a:ea typeface="+mn-lt"/>
                <a:cs typeface="+mn-lt"/>
              </a:rPr>
              <a:t> </a:t>
            </a:r>
            <a:r>
              <a:rPr lang="en-US" sz="1600">
                <a:ea typeface="+mn-lt"/>
                <a:cs typeface="+mn-lt"/>
              </a:rPr>
              <a:t>Provide capital to greenhouse gas mitigation projects not currently able to access private capital, particularly in low-income and disadvantaged communities</a:t>
            </a:r>
            <a:r>
              <a:rPr lang="en-US" sz="1600">
                <a:effectLst/>
                <a:latin typeface="Calibri"/>
                <a:ea typeface="Times New Roman" panose="02020603050405020304" pitchFamily="18" charset="0"/>
                <a:cs typeface="Calibri"/>
              </a:rPr>
              <a:t>. </a:t>
            </a:r>
            <a:endParaRPr lang="en-US" sz="1600">
              <a:effectLst/>
              <a:latin typeface="Times New Roman"/>
              <a:ea typeface="Calibri" panose="020F0502020204030204" pitchFamily="34" charset="0"/>
              <a:cs typeface="Calibri"/>
            </a:endParaRP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Climate Pollution Reduction Grants ($5 billion) </a:t>
            </a:r>
            <a:r>
              <a:rPr lang="en-US" sz="1600">
                <a:effectLst/>
                <a:latin typeface="Calibri"/>
                <a:ea typeface="Times New Roman" panose="02020603050405020304" pitchFamily="18" charset="0"/>
                <a:cs typeface="Calibri"/>
              </a:rPr>
              <a:t>– Provide grants at the state, local, and Tribal level to develop plans to reduce greenhouse gas emissions and implement those plans. At least one grant will go to an eligible entity in every state</a:t>
            </a:r>
            <a:r>
              <a:rPr lang="en-US" sz="1600">
                <a:latin typeface="Calibri"/>
                <a:ea typeface="Times New Roman" panose="02020603050405020304" pitchFamily="18" charset="0"/>
                <a:cs typeface="Calibri"/>
              </a:rPr>
              <a:t>.</a:t>
            </a:r>
            <a:endParaRPr lang="en-US" sz="1600">
              <a:effectLst/>
              <a:latin typeface="Calibri"/>
              <a:ea typeface="Calibri" panose="020F0502020204030204" pitchFamily="34" charset="0"/>
              <a:cs typeface="Calibri"/>
            </a:endParaRP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Environmental and Climate Justice Block Grants ($3 billion) </a:t>
            </a:r>
            <a:r>
              <a:rPr lang="en-US" sz="1600">
                <a:effectLst/>
                <a:latin typeface="Calibri"/>
                <a:ea typeface="Times New Roman" panose="02020603050405020304" pitchFamily="18" charset="0"/>
                <a:cs typeface="Calibri"/>
              </a:rPr>
              <a:t>–</a:t>
            </a:r>
            <a:r>
              <a:rPr lang="en-US" sz="1600">
                <a:latin typeface="Calibri"/>
                <a:ea typeface="Times New Roman" panose="02020603050405020304" pitchFamily="18" charset="0"/>
                <a:cs typeface="Calibri"/>
              </a:rPr>
              <a:t> Fund</a:t>
            </a:r>
            <a:r>
              <a:rPr lang="en-US" sz="1600">
                <a:effectLst/>
                <a:latin typeface="Calibri"/>
                <a:ea typeface="Times New Roman" panose="02020603050405020304" pitchFamily="18" charset="0"/>
                <a:cs typeface="Calibri"/>
              </a:rPr>
              <a:t> community-based nonprofit organizations to support a wide range of climate and environmental justice activities.</a:t>
            </a: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Reduce Air Pollution at Ports ($3 billion) </a:t>
            </a:r>
            <a:r>
              <a:rPr lang="en-US" sz="1600">
                <a:effectLst/>
                <a:latin typeface="Calibri"/>
                <a:ea typeface="Times New Roman" panose="02020603050405020304" pitchFamily="18" charset="0"/>
                <a:cs typeface="Calibri"/>
              </a:rPr>
              <a:t>– </a:t>
            </a:r>
            <a:r>
              <a:rPr lang="en-US" sz="1600">
                <a:latin typeface="Calibri"/>
                <a:ea typeface="Times New Roman" panose="02020603050405020304" pitchFamily="18" charset="0"/>
                <a:cs typeface="Calibri"/>
              </a:rPr>
              <a:t>A</a:t>
            </a:r>
            <a:r>
              <a:rPr lang="en-US" sz="1600">
                <a:effectLst/>
                <a:latin typeface="Calibri"/>
                <a:ea typeface="Times New Roman" panose="02020603050405020304" pitchFamily="18" charset="0"/>
                <a:cs typeface="Calibri"/>
              </a:rPr>
              <a:t>ward rebates and grants for ports to purchase and install zero-emission technology and develop climate action plans</a:t>
            </a:r>
            <a:r>
              <a:rPr lang="en-US" sz="1600">
                <a:latin typeface="Calibri"/>
                <a:ea typeface="Times New Roman" panose="02020603050405020304" pitchFamily="18" charset="0"/>
                <a:cs typeface="Calibri"/>
              </a:rPr>
              <a:t>.</a:t>
            </a:r>
            <a:endParaRPr lang="en-US" sz="1600">
              <a:effectLst/>
              <a:latin typeface="Calibri"/>
              <a:ea typeface="Calibri" panose="020F0502020204030204" pitchFamily="34" charset="0"/>
              <a:cs typeface="Calibri"/>
            </a:endParaRPr>
          </a:p>
          <a:p>
            <a:pPr marL="342900" marR="0" lvl="0" indent="-342900">
              <a:spcBef>
                <a:spcPts val="0"/>
              </a:spcBef>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Methane Emissions Reduction Program ($1.55 billion) </a:t>
            </a:r>
            <a:r>
              <a:rPr lang="en-US" sz="1600">
                <a:effectLst/>
                <a:latin typeface="Calibri"/>
                <a:ea typeface="Times New Roman" panose="02020603050405020304" pitchFamily="18" charset="0"/>
                <a:cs typeface="Calibri"/>
              </a:rPr>
              <a:t>– Fund grants and technical assistance to accelerate emissions reduction from petroleum and natural gas systems. Also establish a methane waste emissions charge starting at $900 per ton in 2024 and increasing to $1,500 per ton by 2026.</a:t>
            </a:r>
            <a:endParaRPr lang="en-US" sz="1600" b="1">
              <a:effectLst/>
              <a:latin typeface="Calibri"/>
              <a:ea typeface="Times New Roman" panose="02020603050405020304" pitchFamily="18" charset="0"/>
              <a:cs typeface="Calibri"/>
            </a:endParaRPr>
          </a:p>
          <a:p>
            <a:pPr marL="342900" indent="-342900">
              <a:spcAft>
                <a:spcPts val="800"/>
              </a:spcAft>
              <a:buFont typeface="Symbol" panose="05050102010706020507" pitchFamily="18" charset="2"/>
              <a:buChar char=""/>
            </a:pPr>
            <a:r>
              <a:rPr lang="en-US" sz="1600" b="1">
                <a:effectLst/>
                <a:latin typeface="Calibri"/>
                <a:ea typeface="Times New Roman" panose="02020603050405020304" pitchFamily="18" charset="0"/>
                <a:cs typeface="Calibri"/>
              </a:rPr>
              <a:t>Clean Heavy-Duty Vehicles ($1 billion) – </a:t>
            </a:r>
            <a:r>
              <a:rPr lang="en-US" sz="1600">
                <a:effectLst/>
                <a:latin typeface="Calibri"/>
                <a:ea typeface="Times New Roman" panose="02020603050405020304" pitchFamily="18" charset="0"/>
                <a:cs typeface="Calibri"/>
              </a:rPr>
              <a:t>Provide grants, rebates, and contract support to replace heavy duty vehicles with zero emission alternatives. $400 million is specifically for nonattainment areas.</a:t>
            </a:r>
            <a:r>
              <a:rPr lang="en-US" sz="1600">
                <a:latin typeface="Calibri"/>
                <a:ea typeface="Times New Roman" panose="02020603050405020304" pitchFamily="18" charset="0"/>
                <a:cs typeface="Calibri"/>
              </a:rPr>
              <a:t> </a:t>
            </a:r>
            <a:endParaRPr lang="en-US" sz="1600">
              <a:effectLst/>
              <a:latin typeface="Calibri" panose="020F0502020204030204" pitchFamily="34" charset="0"/>
              <a:ea typeface="Times New Roman" panose="02020603050405020304" pitchFamily="18" charset="0"/>
              <a:cs typeface="Calibri"/>
            </a:endParaRPr>
          </a:p>
        </p:txBody>
      </p:sp>
      <p:sp>
        <p:nvSpPr>
          <p:cNvPr id="2" name="Footer Placeholder 1">
            <a:extLst>
              <a:ext uri="{FF2B5EF4-FFF2-40B4-BE49-F238E27FC236}">
                <a16:creationId xmlns:a16="http://schemas.microsoft.com/office/drawing/2014/main" id="{F2520FCB-3202-B90A-A9FD-B313C1A22882}"/>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3422875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5AF068B-72B5-452D-A220-C49B93CA61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E5AF068B-72B5-452D-A220-C49B93CA61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lide Number Placeholder 17">
            <a:extLst>
              <a:ext uri="{FF2B5EF4-FFF2-40B4-BE49-F238E27FC236}">
                <a16:creationId xmlns:a16="http://schemas.microsoft.com/office/drawing/2014/main" id="{92FC8B36-14C9-4FC6-921B-5DFFF0C7E83A}"/>
              </a:ext>
            </a:extLst>
          </p:cNvPr>
          <p:cNvSpPr>
            <a:spLocks noGrp="1"/>
          </p:cNvSpPr>
          <p:nvPr>
            <p:ph type="sldNum" sz="quarter" idx="12"/>
          </p:nvPr>
        </p:nvSpPr>
        <p:spPr/>
        <p:txBody>
          <a:bodyPr/>
          <a:lstStyle/>
          <a:p>
            <a:fld id="{31FEFF75-79D2-EE46-877B-299D1510E681}" type="slidenum">
              <a:rPr lang="en-US" smtClean="0"/>
              <a:t>6</a:t>
            </a:fld>
            <a:endParaRPr lang="en-US"/>
          </a:p>
        </p:txBody>
      </p:sp>
      <p:sp>
        <p:nvSpPr>
          <p:cNvPr id="2" name="Title 1">
            <a:extLst>
              <a:ext uri="{FF2B5EF4-FFF2-40B4-BE49-F238E27FC236}">
                <a16:creationId xmlns:a16="http://schemas.microsoft.com/office/drawing/2014/main" id="{CCB8499E-901A-4425-B496-CA04167CF530}"/>
              </a:ext>
            </a:extLst>
          </p:cNvPr>
          <p:cNvSpPr>
            <a:spLocks noGrp="1"/>
          </p:cNvSpPr>
          <p:nvPr>
            <p:ph type="ctrTitle"/>
          </p:nvPr>
        </p:nvSpPr>
        <p:spPr/>
        <p:txBody>
          <a:bodyPr vert="horz"/>
          <a:lstStyle/>
          <a:p>
            <a:r>
              <a:rPr lang="en-US" sz="4000" dirty="0"/>
              <a:t>Greenhouse Gas Reduction Fund overview</a:t>
            </a:r>
          </a:p>
        </p:txBody>
      </p:sp>
      <p:sp>
        <p:nvSpPr>
          <p:cNvPr id="3" name="Text Placeholder 2">
            <a:extLst>
              <a:ext uri="{FF2B5EF4-FFF2-40B4-BE49-F238E27FC236}">
                <a16:creationId xmlns:a16="http://schemas.microsoft.com/office/drawing/2014/main" id="{6C98F447-0DCF-4513-8099-72CFC418C104}"/>
              </a:ext>
            </a:extLst>
          </p:cNvPr>
          <p:cNvSpPr>
            <a:spLocks noGrp="1"/>
          </p:cNvSpPr>
          <p:nvPr>
            <p:ph type="body" sz="quarter" idx="14"/>
          </p:nvPr>
        </p:nvSpPr>
        <p:spPr/>
        <p:txBody>
          <a:bodyPr/>
          <a:lstStyle/>
          <a:p>
            <a:endParaRPr lang="en-US"/>
          </a:p>
        </p:txBody>
      </p:sp>
      <p:graphicFrame>
        <p:nvGraphicFramePr>
          <p:cNvPr id="20" name="Table 20">
            <a:extLst>
              <a:ext uri="{FF2B5EF4-FFF2-40B4-BE49-F238E27FC236}">
                <a16:creationId xmlns:a16="http://schemas.microsoft.com/office/drawing/2014/main" id="{235152B9-DBDD-4335-9D8B-6022737014B0}"/>
              </a:ext>
            </a:extLst>
          </p:cNvPr>
          <p:cNvGraphicFramePr>
            <a:graphicFrameLocks noGrp="1"/>
          </p:cNvGraphicFramePr>
          <p:nvPr>
            <p:ph sz="half" idx="4294967295"/>
          </p:nvPr>
        </p:nvGraphicFramePr>
        <p:xfrm>
          <a:off x="392623" y="1492250"/>
          <a:ext cx="11377583" cy="4864140"/>
        </p:xfrm>
        <a:graphic>
          <a:graphicData uri="http://schemas.openxmlformats.org/drawingml/2006/table">
            <a:tbl>
              <a:tblPr firstRow="1" bandRow="1">
                <a:tableStyleId>{F5AB1C69-6EDB-4FF4-983F-18BD219EF322}</a:tableStyleId>
              </a:tblPr>
              <a:tblGrid>
                <a:gridCol w="1474786">
                  <a:extLst>
                    <a:ext uri="{9D8B030D-6E8A-4147-A177-3AD203B41FA5}">
                      <a16:colId xmlns:a16="http://schemas.microsoft.com/office/drawing/2014/main" val="4047965780"/>
                    </a:ext>
                  </a:extLst>
                </a:gridCol>
                <a:gridCol w="4001431">
                  <a:extLst>
                    <a:ext uri="{9D8B030D-6E8A-4147-A177-3AD203B41FA5}">
                      <a16:colId xmlns:a16="http://schemas.microsoft.com/office/drawing/2014/main" val="2554069173"/>
                    </a:ext>
                  </a:extLst>
                </a:gridCol>
                <a:gridCol w="5901366">
                  <a:extLst>
                    <a:ext uri="{9D8B030D-6E8A-4147-A177-3AD203B41FA5}">
                      <a16:colId xmlns:a16="http://schemas.microsoft.com/office/drawing/2014/main" val="3229517162"/>
                    </a:ext>
                  </a:extLst>
                </a:gridCol>
              </a:tblGrid>
              <a:tr h="340800">
                <a:tc>
                  <a:txBody>
                    <a:bodyPr/>
                    <a:lstStyle/>
                    <a:p>
                      <a:endParaRPr lang="en-US" sz="1600"/>
                    </a:p>
                  </a:txBody>
                  <a:tcPr/>
                </a:tc>
                <a:tc>
                  <a:txBody>
                    <a:bodyPr/>
                    <a:lstStyle/>
                    <a:p>
                      <a:r>
                        <a:rPr lang="en-US" sz="1600">
                          <a:latin typeface="+mn-lt"/>
                        </a:rPr>
                        <a:t>Funding stream #1</a:t>
                      </a:r>
                      <a:endParaRPr lang="en-US" sz="1600"/>
                    </a:p>
                  </a:txBody>
                  <a:tcPr/>
                </a:tc>
                <a:tc>
                  <a:txBody>
                    <a:bodyPr/>
                    <a:lstStyle/>
                    <a:p>
                      <a:r>
                        <a:rPr lang="en-US" sz="1600">
                          <a:latin typeface="+mn-lt"/>
                        </a:rPr>
                        <a:t>Funding streams #2 and #3</a:t>
                      </a:r>
                      <a:endParaRPr lang="en-US" sz="1600"/>
                    </a:p>
                  </a:txBody>
                  <a:tcPr/>
                </a:tc>
                <a:extLst>
                  <a:ext uri="{0D108BD9-81ED-4DB2-BD59-A6C34878D82A}">
                    <a16:rowId xmlns:a16="http://schemas.microsoft.com/office/drawing/2014/main" val="447891424"/>
                  </a:ext>
                </a:extLst>
              </a:tr>
              <a:tr h="340800">
                <a:tc>
                  <a:txBody>
                    <a:bodyPr/>
                    <a:lstStyle/>
                    <a:p>
                      <a:r>
                        <a:rPr lang="en-US" sz="1600" b="1"/>
                        <a:t>Funding</a:t>
                      </a:r>
                    </a:p>
                  </a:txBody>
                  <a:tcPr/>
                </a:tc>
                <a:tc>
                  <a:txBody>
                    <a:bodyPr/>
                    <a:lstStyle/>
                    <a:p>
                      <a:r>
                        <a:rPr lang="en-US" sz="1400" b="1"/>
                        <a:t>$7 billion in competitive grants</a:t>
                      </a:r>
                    </a:p>
                  </a:txBody>
                  <a:tcPr/>
                </a:tc>
                <a:tc>
                  <a:txBody>
                    <a:bodyPr/>
                    <a:lstStyle/>
                    <a:p>
                      <a:r>
                        <a:rPr lang="en-US" sz="1400" b="1"/>
                        <a:t>$11.97 billion and $8 billion in competitive grants</a:t>
                      </a:r>
                    </a:p>
                  </a:txBody>
                  <a:tcPr/>
                </a:tc>
                <a:extLst>
                  <a:ext uri="{0D108BD9-81ED-4DB2-BD59-A6C34878D82A}">
                    <a16:rowId xmlns:a16="http://schemas.microsoft.com/office/drawing/2014/main" val="2742571019"/>
                  </a:ext>
                </a:extLst>
              </a:tr>
              <a:tr h="1394180">
                <a:tc>
                  <a:txBody>
                    <a:bodyPr/>
                    <a:lstStyle/>
                    <a:p>
                      <a:r>
                        <a:rPr lang="en-US" sz="1600" b="1"/>
                        <a:t>Eligible Recipien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a:latin typeface="+mn-lt"/>
                        </a:rPr>
                        <a:t>States, municipalities, Tribal governments, and ‘</a:t>
                      </a:r>
                      <a:r>
                        <a:rPr lang="en-US" sz="1400" i="1">
                          <a:latin typeface="+mn-lt"/>
                        </a:rPr>
                        <a:t>eligible recipients</a:t>
                      </a:r>
                      <a:r>
                        <a:rPr lang="en-US" sz="1400">
                          <a:latin typeface="+mn-lt"/>
                        </a:rPr>
                        <a:t>’ (see righthand column)</a:t>
                      </a:r>
                    </a:p>
                  </a:txBody>
                  <a:tcPr/>
                </a:tc>
                <a:tc>
                  <a:txBody>
                    <a:bodyPr/>
                    <a:lstStyle/>
                    <a:p>
                      <a:r>
                        <a:rPr lang="en-US" sz="1400" i="1" dirty="0"/>
                        <a:t>Eligible recipients </a:t>
                      </a:r>
                      <a:r>
                        <a:rPr lang="en-US" sz="1400" dirty="0"/>
                        <a:t>defined as: </a:t>
                      </a:r>
                    </a:p>
                    <a:p>
                      <a:pPr marL="285750" indent="-285750">
                        <a:buFont typeface="Arial" panose="020B0604020202020204" pitchFamily="34" charset="0"/>
                        <a:buChar char="•"/>
                      </a:pPr>
                      <a:r>
                        <a:rPr lang="en-US" sz="1400" dirty="0"/>
                        <a:t>A nonprofit that provides capital, including by leveraging private capital</a:t>
                      </a:r>
                    </a:p>
                    <a:p>
                      <a:pPr marL="285750" indent="-285750">
                        <a:buFont typeface="Arial" panose="020B0604020202020204" pitchFamily="34" charset="0"/>
                        <a:buChar char="•"/>
                      </a:pPr>
                      <a:r>
                        <a:rPr lang="en-US" sz="1400" dirty="0"/>
                        <a:t>Does not take deposits other than from repayments and other revenue from using these grant funds</a:t>
                      </a:r>
                    </a:p>
                    <a:p>
                      <a:pPr marL="285750" indent="-285750">
                        <a:buFont typeface="Arial" panose="020B0604020202020204" pitchFamily="34" charset="0"/>
                        <a:buChar char="•"/>
                      </a:pPr>
                      <a:r>
                        <a:rPr lang="en-US" sz="1400" dirty="0"/>
                        <a:t>Is funded by public or charitable contributions</a:t>
                      </a:r>
                    </a:p>
                    <a:p>
                      <a:pPr marL="285750" indent="-285750">
                        <a:buFont typeface="Arial" panose="020B0604020202020204" pitchFamily="34" charset="0"/>
                        <a:buChar char="•"/>
                      </a:pPr>
                      <a:r>
                        <a:rPr lang="en-US" sz="1400" dirty="0"/>
                        <a:t>Invests in or finances projects alone or with investors</a:t>
                      </a:r>
                    </a:p>
                  </a:txBody>
                  <a:tcPr/>
                </a:tc>
                <a:extLst>
                  <a:ext uri="{0D108BD9-81ED-4DB2-BD59-A6C34878D82A}">
                    <a16:rowId xmlns:a16="http://schemas.microsoft.com/office/drawing/2014/main" val="1376837827"/>
                  </a:ext>
                </a:extLst>
              </a:tr>
              <a:tr h="1827925">
                <a:tc>
                  <a:txBody>
                    <a:bodyPr/>
                    <a:lstStyle/>
                    <a:p>
                      <a:r>
                        <a:rPr lang="en-US" sz="1600" b="1"/>
                        <a:t>Use of Funds</a:t>
                      </a:r>
                    </a:p>
                  </a:txBody>
                  <a:tcPr/>
                </a:tc>
                <a:tc>
                  <a:txBody>
                    <a:bodyPr/>
                    <a:lstStyle/>
                    <a:p>
                      <a:pPr marL="285750" indent="-285750">
                        <a:buFont typeface="Arial" panose="020B0604020202020204" pitchFamily="34" charset="0"/>
                        <a:buChar char="•"/>
                      </a:pPr>
                      <a:r>
                        <a:rPr lang="en-US" sz="1400"/>
                        <a:t>Provide eligible applicants with funding that can be used as subgrants, loans, other forms of financial assistance, and technical assistance</a:t>
                      </a:r>
                    </a:p>
                    <a:p>
                      <a:pPr marL="285750" indent="-285750">
                        <a:buFont typeface="Arial" panose="020B0604020202020204" pitchFamily="34" charset="0"/>
                        <a:buChar char="•"/>
                      </a:pPr>
                      <a:r>
                        <a:rPr lang="en-US" sz="1400"/>
                        <a:t>Distributed technologies on residential rooftops is specifically mentioned as an allowable use, in addition to zero-emission technologies</a:t>
                      </a:r>
                    </a:p>
                  </a:txBody>
                  <a:tcPr/>
                </a:tc>
                <a:tc>
                  <a:txBody>
                    <a:bodyPr/>
                    <a:lstStyle/>
                    <a:p>
                      <a:r>
                        <a:rPr lang="en-US" sz="1400"/>
                        <a:t>Funds for financial and technical assistance in projects that reduce or avoid greenhouse gases and other forms of air pollution.</a:t>
                      </a:r>
                    </a:p>
                    <a:p>
                      <a:r>
                        <a:rPr lang="en-US" sz="1400"/>
                        <a:t>Eligible recipients shall make:</a:t>
                      </a:r>
                    </a:p>
                    <a:p>
                      <a:pPr marL="285750" indent="-285750">
                        <a:buFont typeface="Arial" panose="020B0604020202020204" pitchFamily="34" charset="0"/>
                        <a:buChar char="•"/>
                      </a:pPr>
                      <a:r>
                        <a:rPr lang="en-US" sz="1400"/>
                        <a:t>Direct investments in qualified projects </a:t>
                      </a:r>
                    </a:p>
                    <a:p>
                      <a:pPr marL="285750" indent="-285750">
                        <a:buFont typeface="Arial" panose="020B0604020202020204" pitchFamily="34" charset="0"/>
                        <a:buChar char="•"/>
                      </a:pPr>
                      <a:r>
                        <a:rPr lang="en-US" sz="1400"/>
                        <a:t>Indirect investment through funding and technical assistance to establish new or support existing public, quasi-public, and nonprofit entities that provide financial assistance to qualified projects at the state, local territorial, or Tribal level, as well as community lenders</a:t>
                      </a:r>
                    </a:p>
                  </a:txBody>
                  <a:tcPr/>
                </a:tc>
                <a:extLst>
                  <a:ext uri="{0D108BD9-81ED-4DB2-BD59-A6C34878D82A}">
                    <a16:rowId xmlns:a16="http://schemas.microsoft.com/office/drawing/2014/main" val="2019027528"/>
                  </a:ext>
                </a:extLst>
              </a:tr>
              <a:tr h="960435">
                <a:tc>
                  <a:txBody>
                    <a:bodyPr/>
                    <a:lstStyle/>
                    <a:p>
                      <a:r>
                        <a:rPr lang="en-US" sz="1600" b="1"/>
                        <a:t>Conditions and Carve-Ou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a:t>Funds must enable low-income and disadvantaged communities to deploy or benefit from zero-emission technologies and carry out greenhouse gas reduction activit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rPr>
                        <a:t>$8 billion for qualified projects in low-income and disadvantaged communities</a:t>
                      </a:r>
                    </a:p>
                  </a:txBody>
                  <a:tcPr/>
                </a:tc>
                <a:extLst>
                  <a:ext uri="{0D108BD9-81ED-4DB2-BD59-A6C34878D82A}">
                    <a16:rowId xmlns:a16="http://schemas.microsoft.com/office/drawing/2014/main" val="4167971697"/>
                  </a:ext>
                </a:extLst>
              </a:tr>
            </a:tbl>
          </a:graphicData>
        </a:graphic>
      </p:graphicFrame>
      <p:sp>
        <p:nvSpPr>
          <p:cNvPr id="4" name="Footer Placeholder 3">
            <a:extLst>
              <a:ext uri="{FF2B5EF4-FFF2-40B4-BE49-F238E27FC236}">
                <a16:creationId xmlns:a16="http://schemas.microsoft.com/office/drawing/2014/main" id="{A5F612F3-9ED1-F2B7-5F43-B9295E48314C}"/>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9067575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FEA1E-9C56-0621-AE0F-46387322D6D1}"/>
              </a:ext>
            </a:extLst>
          </p:cNvPr>
          <p:cNvSpPr>
            <a:spLocks noGrp="1"/>
          </p:cNvSpPr>
          <p:nvPr>
            <p:ph type="ctrTitle"/>
          </p:nvPr>
        </p:nvSpPr>
        <p:spPr/>
        <p:txBody>
          <a:bodyPr/>
          <a:lstStyle/>
          <a:p>
            <a:r>
              <a:rPr lang="en-US" sz="3600" dirty="0"/>
              <a:t>EPA’s Implementation Framework for the </a:t>
            </a:r>
            <a:r>
              <a:rPr lang="en-US" sz="3600" b="1" dirty="0"/>
              <a:t>Greenhouse Gas Reduction Fund </a:t>
            </a:r>
            <a:r>
              <a:rPr lang="en-US" sz="3600" dirty="0"/>
              <a:t>– 4/19/2023</a:t>
            </a:r>
          </a:p>
        </p:txBody>
      </p:sp>
      <p:graphicFrame>
        <p:nvGraphicFramePr>
          <p:cNvPr id="5" name="Diagram 4">
            <a:extLst>
              <a:ext uri="{FF2B5EF4-FFF2-40B4-BE49-F238E27FC236}">
                <a16:creationId xmlns:a16="http://schemas.microsoft.com/office/drawing/2014/main" id="{789D53F1-6293-B247-6B85-B9871C3147D7}"/>
              </a:ext>
            </a:extLst>
          </p:cNvPr>
          <p:cNvGraphicFramePr/>
          <p:nvPr>
            <p:extLst>
              <p:ext uri="{D42A27DB-BD31-4B8C-83A1-F6EECF244321}">
                <p14:modId xmlns:p14="http://schemas.microsoft.com/office/powerpoint/2010/main" val="2778011917"/>
              </p:ext>
            </p:extLst>
          </p:nvPr>
        </p:nvGraphicFramePr>
        <p:xfrm>
          <a:off x="392624" y="1507066"/>
          <a:ext cx="11369070" cy="48492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2042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586D0A-7B62-47C6-95D8-CF0F7AAA742A}"/>
              </a:ext>
            </a:extLst>
          </p:cNvPr>
          <p:cNvSpPr>
            <a:spLocks noGrp="1"/>
          </p:cNvSpPr>
          <p:nvPr>
            <p:ph type="title"/>
          </p:nvPr>
        </p:nvSpPr>
        <p:spPr/>
        <p:txBody>
          <a:bodyPr>
            <a:normAutofit/>
          </a:bodyPr>
          <a:lstStyle/>
          <a:p>
            <a:r>
              <a:rPr lang="en-US" sz="3600" dirty="0">
                <a:solidFill>
                  <a:schemeClr val="accent4">
                    <a:lumMod val="75000"/>
                  </a:schemeClr>
                </a:solidFill>
                <a:latin typeface="Sagona ExtraLight" panose="02020303050505020204" pitchFamily="18" charset="0"/>
              </a:rPr>
              <a:t>Climate Pollution Reduction Grant (CPRG) Program</a:t>
            </a:r>
          </a:p>
        </p:txBody>
      </p:sp>
      <p:sp>
        <p:nvSpPr>
          <p:cNvPr id="4" name="Content Placeholder 3">
            <a:extLst>
              <a:ext uri="{FF2B5EF4-FFF2-40B4-BE49-F238E27FC236}">
                <a16:creationId xmlns:a16="http://schemas.microsoft.com/office/drawing/2014/main" id="{21F32DCF-BD27-AA31-8023-8AADDFAD1B65}"/>
              </a:ext>
            </a:extLst>
          </p:cNvPr>
          <p:cNvSpPr>
            <a:spLocks noGrp="1"/>
          </p:cNvSpPr>
          <p:nvPr>
            <p:ph idx="1"/>
          </p:nvPr>
        </p:nvSpPr>
        <p:spPr/>
        <p:txBody>
          <a:bodyPr>
            <a:normAutofit/>
          </a:bodyPr>
          <a:lstStyle/>
          <a:p>
            <a:pPr marL="457200" lvl="1" indent="0">
              <a:spcBef>
                <a:spcPts val="600"/>
              </a:spcBef>
              <a:buNone/>
            </a:pPr>
            <a:endParaRPr lang="en-US" sz="3200" b="1">
              <a:solidFill>
                <a:schemeClr val="accent1">
                  <a:lumMod val="50000"/>
                </a:schemeClr>
              </a:solidFill>
            </a:endParaRPr>
          </a:p>
          <a:p>
            <a:pPr marL="457200" lvl="1" indent="0">
              <a:spcBef>
                <a:spcPts val="600"/>
              </a:spcBef>
              <a:buNone/>
            </a:pPr>
            <a:r>
              <a:rPr lang="en-US" sz="3200" b="1">
                <a:solidFill>
                  <a:schemeClr val="accent1">
                    <a:lumMod val="50000"/>
                  </a:schemeClr>
                </a:solidFill>
              </a:rPr>
              <a:t>1. Planning grants </a:t>
            </a:r>
            <a:r>
              <a:rPr lang="en-US" sz="3200"/>
              <a:t>to develop strong climate pollution reduction strategies ($250 million)</a:t>
            </a:r>
          </a:p>
          <a:p>
            <a:pPr lvl="1">
              <a:spcBef>
                <a:spcPts val="600"/>
              </a:spcBef>
            </a:pPr>
            <a:r>
              <a:rPr lang="en-US" sz="2800"/>
              <a:t>Administered through non-competitive cooperative agreements</a:t>
            </a:r>
          </a:p>
          <a:p>
            <a:pPr marL="457200" lvl="1" indent="0">
              <a:spcBef>
                <a:spcPts val="600"/>
              </a:spcBef>
              <a:buNone/>
            </a:pPr>
            <a:endParaRPr lang="en-US" sz="3200" b="1">
              <a:solidFill>
                <a:schemeClr val="accent1">
                  <a:lumMod val="50000"/>
                </a:schemeClr>
              </a:solidFill>
            </a:endParaRPr>
          </a:p>
          <a:p>
            <a:pPr marL="457200" lvl="1" indent="0">
              <a:spcBef>
                <a:spcPts val="600"/>
              </a:spcBef>
              <a:buNone/>
            </a:pPr>
            <a:r>
              <a:rPr lang="en-US" sz="3200" b="1">
                <a:solidFill>
                  <a:schemeClr val="accent1">
                    <a:lumMod val="50000"/>
                  </a:schemeClr>
                </a:solidFill>
              </a:rPr>
              <a:t>2. Competitive implementation grants </a:t>
            </a:r>
            <a:r>
              <a:rPr lang="en-US" sz="3200"/>
              <a:t>to help put plans into action ($4.6 billion)</a:t>
            </a:r>
            <a:endParaRPr lang="en-US" sz="3600" b="1"/>
          </a:p>
          <a:p>
            <a:pPr marL="0" indent="0">
              <a:buNone/>
            </a:pPr>
            <a:endParaRPr lang="en-US" sz="3600">
              <a:latin typeface="Franklin Gothic Book"/>
            </a:endParaRPr>
          </a:p>
          <a:p>
            <a:pPr marL="514350" indent="-514350">
              <a:buAutoNum type="arabicPeriod"/>
            </a:pPr>
            <a:endParaRPr lang="en-US" sz="3600"/>
          </a:p>
          <a:p>
            <a:endParaRPr lang="en-US"/>
          </a:p>
        </p:txBody>
      </p:sp>
      <p:sp>
        <p:nvSpPr>
          <p:cNvPr id="5" name="Slide Number Placeholder 4">
            <a:extLst>
              <a:ext uri="{FF2B5EF4-FFF2-40B4-BE49-F238E27FC236}">
                <a16:creationId xmlns:a16="http://schemas.microsoft.com/office/drawing/2014/main" id="{6A9E9286-BC5E-4033-A778-BE4DAB7FE05D}"/>
              </a:ext>
            </a:extLst>
          </p:cNvPr>
          <p:cNvSpPr>
            <a:spLocks noGrp="1"/>
          </p:cNvSpPr>
          <p:nvPr>
            <p:ph type="sldNum" sz="quarter" idx="4294967295"/>
          </p:nvPr>
        </p:nvSpPr>
        <p:spPr>
          <a:xfrm>
            <a:off x="9448800" y="6492875"/>
            <a:ext cx="2743200" cy="365125"/>
          </a:xfrm>
          <a:prstGeom prst="rect">
            <a:avLst/>
          </a:prstGeom>
        </p:spPr>
        <p:txBody>
          <a:bodyPr vert="horz" lIns="91440" tIns="45720" rIns="365760" bIns="45720" rtlCol="0" anchor="ctr"/>
          <a:lstStyle>
            <a:defPPr>
              <a:defRPr lang="en-US"/>
            </a:defPPr>
            <a:lvl1pPr marL="0" algn="r" defTabSz="914400" rtl="0" eaLnBrk="1" latinLnBrk="0" hangingPunct="1">
              <a:defRPr sz="1200" kern="1200">
                <a:solidFill>
                  <a:schemeClr val="tx1">
                    <a:tint val="75000"/>
                  </a:schemeClr>
                </a:solidFill>
                <a:latin typeface="Franklin Gothic Book" panose="020B05030201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DF741E7-67ED-4919-B603-59DC4E175975}" type="slidenum">
              <a:rPr kumimoji="0" lang="en-US" sz="1200" b="0" i="0" u="none" strike="noStrike" kern="1200" cap="none" spc="0" normalizeH="0" baseline="0" noProof="0" smtClean="0">
                <a:ln>
                  <a:noFill/>
                </a:ln>
                <a:solidFill>
                  <a:prstClr val="black">
                    <a:tint val="75000"/>
                  </a:prstClr>
                </a:solidFill>
                <a:effectLst/>
                <a:uLnTx/>
                <a:uFillTx/>
                <a:latin typeface="Franklin Gothic Book" panose="020B05030201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tint val="75000"/>
                </a:prstClr>
              </a:solidFill>
              <a:effectLst/>
              <a:uLnTx/>
              <a:uFillTx/>
              <a:latin typeface="Franklin Gothic Book" panose="020B0503020102020204" pitchFamily="34" charset="0"/>
              <a:ea typeface="+mn-ea"/>
              <a:cs typeface="+mn-cs"/>
            </a:endParaRPr>
          </a:p>
        </p:txBody>
      </p:sp>
    </p:spTree>
    <p:extLst>
      <p:ext uri="{BB962C8B-B14F-4D97-AF65-F5344CB8AC3E}">
        <p14:creationId xmlns:p14="http://schemas.microsoft.com/office/powerpoint/2010/main" val="3181507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DFA78-29FF-801B-FA72-D7DBDD14EAD5}"/>
              </a:ext>
            </a:extLst>
          </p:cNvPr>
          <p:cNvSpPr>
            <a:spLocks noGrp="1"/>
          </p:cNvSpPr>
          <p:nvPr>
            <p:ph type="title"/>
          </p:nvPr>
        </p:nvSpPr>
        <p:spPr/>
        <p:txBody>
          <a:bodyPr>
            <a:normAutofit/>
          </a:bodyPr>
          <a:lstStyle/>
          <a:p>
            <a:r>
              <a:rPr lang="en-US" sz="3600" dirty="0">
                <a:solidFill>
                  <a:schemeClr val="accent4">
                    <a:lumMod val="75000"/>
                  </a:schemeClr>
                </a:solidFill>
                <a:latin typeface="Sagona ExtraLight" panose="02020303050505020204" pitchFamily="18" charset="0"/>
              </a:rPr>
              <a:t>CPRG: Planning Grant Allocations</a:t>
            </a:r>
          </a:p>
        </p:txBody>
      </p:sp>
      <p:sp>
        <p:nvSpPr>
          <p:cNvPr id="4" name="Slide Number Placeholder 3">
            <a:extLst>
              <a:ext uri="{FF2B5EF4-FFF2-40B4-BE49-F238E27FC236}">
                <a16:creationId xmlns:a16="http://schemas.microsoft.com/office/drawing/2014/main" id="{EAB0D630-1601-5AAC-1E62-3D9536CC524A}"/>
              </a:ext>
            </a:extLst>
          </p:cNvPr>
          <p:cNvSpPr>
            <a:spLocks noGrp="1"/>
          </p:cNvSpPr>
          <p:nvPr>
            <p:ph type="sldNum" sz="quarter" idx="4"/>
          </p:nvPr>
        </p:nvSpPr>
        <p:spPr>
          <a:xfrm>
            <a:off x="11506200" y="6536267"/>
            <a:ext cx="576308" cy="274320"/>
          </a:xfrm>
          <a:prstGeom prst="rect">
            <a:avLst/>
          </a:prstGeom>
        </p:spPr>
        <p:txBody>
          <a:bodyPr vert="horz" lIns="91440" tIns="45720" rIns="91440" bIns="45720" rtlCol="0" anchor="ctr"/>
          <a:lstStyle>
            <a:defPPr>
              <a:defRPr lang="en-US"/>
            </a:defPPr>
            <a:lvl1pPr marL="0" algn="r"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D9C3B4F-4B7B-9A4F-9F3C-3A4901A33979}" type="slidenum">
              <a:rPr lang="en-US" smtClean="0"/>
              <a:pPr/>
              <a:t>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Rounded Corners 47">
            <a:extLst>
              <a:ext uri="{FF2B5EF4-FFF2-40B4-BE49-F238E27FC236}">
                <a16:creationId xmlns:a16="http://schemas.microsoft.com/office/drawing/2014/main" id="{64A27492-6395-D37F-20E5-42A1C5122009}"/>
              </a:ext>
            </a:extLst>
          </p:cNvPr>
          <p:cNvSpPr/>
          <p:nvPr/>
        </p:nvSpPr>
        <p:spPr>
          <a:xfrm>
            <a:off x="1353931" y="1690688"/>
            <a:ext cx="2870237" cy="1271172"/>
          </a:xfrm>
          <a:prstGeom prst="roundRect">
            <a:avLst/>
          </a:prstGeom>
          <a:solidFill>
            <a:srgbClr val="006B99">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States: $156 million </a:t>
            </a:r>
            <a:r>
              <a:rPr kumimoji="0" lang="en-US" sz="24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Up to $3M per state + DC + Puerto Rico </a:t>
            </a:r>
            <a:endParaRPr kumimoji="0" lang="en-US" sz="2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Rectangle: Rounded Corners 54">
            <a:extLst>
              <a:ext uri="{FF2B5EF4-FFF2-40B4-BE49-F238E27FC236}">
                <a16:creationId xmlns:a16="http://schemas.microsoft.com/office/drawing/2014/main" id="{EEEB0678-9B4E-5EBA-6ABD-5FBB5313659D}"/>
              </a:ext>
            </a:extLst>
          </p:cNvPr>
          <p:cNvSpPr/>
          <p:nvPr/>
        </p:nvSpPr>
        <p:spPr>
          <a:xfrm>
            <a:off x="221942" y="3653461"/>
            <a:ext cx="3098917" cy="1656669"/>
          </a:xfrm>
          <a:prstGeom prst="roundRect">
            <a:avLst/>
          </a:prstGeom>
          <a:solidFill>
            <a:srgbClr val="66C59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Territories: $2 m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Up to $500K each for US Virgin Islands, Guam, American Samoa,</a:t>
            </a:r>
            <a:b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b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Northern Mariana Islands </a:t>
            </a: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 </a:t>
            </a:r>
            <a:endParaRPr kumimoji="0" lang="en-US" sz="2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Rectangle: Rounded Corners 55">
            <a:extLst>
              <a:ext uri="{FF2B5EF4-FFF2-40B4-BE49-F238E27FC236}">
                <a16:creationId xmlns:a16="http://schemas.microsoft.com/office/drawing/2014/main" id="{A87B9191-857C-30D8-3057-9E002BA818B7}"/>
              </a:ext>
            </a:extLst>
          </p:cNvPr>
          <p:cNvSpPr/>
          <p:nvPr/>
        </p:nvSpPr>
        <p:spPr>
          <a:xfrm>
            <a:off x="7837315" y="4563362"/>
            <a:ext cx="3068577" cy="1271172"/>
          </a:xfrm>
          <a:prstGeom prst="roundRect">
            <a:avLst/>
          </a:prstGeom>
          <a:solidFill>
            <a:srgbClr val="66BDE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Tribes: $25 mill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Up to $500K per tribe or $1M for groups of 2 or more</a:t>
            </a:r>
            <a:endParaRPr kumimoji="0" lang="en-US" sz="24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Rectangle: Rounded Corners 56">
            <a:extLst>
              <a:ext uri="{FF2B5EF4-FFF2-40B4-BE49-F238E27FC236}">
                <a16:creationId xmlns:a16="http://schemas.microsoft.com/office/drawing/2014/main" id="{A84F469B-CEDE-0C9E-BDDD-F32F80A35308}"/>
              </a:ext>
            </a:extLst>
          </p:cNvPr>
          <p:cNvSpPr/>
          <p:nvPr/>
        </p:nvSpPr>
        <p:spPr>
          <a:xfrm>
            <a:off x="9103827" y="1905918"/>
            <a:ext cx="2861432" cy="1523082"/>
          </a:xfrm>
          <a:prstGeom prst="roundRect">
            <a:avLst/>
          </a:prstGeom>
          <a:solidFill>
            <a:srgbClr val="009F5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a:ea typeface="+mn-ea"/>
                <a:cs typeface="+mn-cs"/>
              </a:rPr>
              <a:t>Locals: $67 mill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Calibri" panose="020F0502020204030204"/>
                <a:ea typeface="+mn-ea"/>
                <a:cs typeface="+mn-cs"/>
              </a:rPr>
              <a:t>Up to $1M each for the 67 most populous metropolitan areas</a:t>
            </a:r>
          </a:p>
        </p:txBody>
      </p:sp>
      <p:pic>
        <p:nvPicPr>
          <p:cNvPr id="3" name="Picture 2" descr="Four-part circular diagram">
            <a:extLst>
              <a:ext uri="{FF2B5EF4-FFF2-40B4-BE49-F238E27FC236}">
                <a16:creationId xmlns:a16="http://schemas.microsoft.com/office/drawing/2014/main" id="{4E10B100-64E0-9408-B38D-C932941F8FD5}"/>
              </a:ext>
            </a:extLst>
          </p:cNvPr>
          <p:cNvPicPr>
            <a:picLocks noChangeAspect="1"/>
          </p:cNvPicPr>
          <p:nvPr/>
        </p:nvPicPr>
        <p:blipFill>
          <a:blip r:embed="rId3"/>
          <a:stretch>
            <a:fillRect/>
          </a:stretch>
        </p:blipFill>
        <p:spPr>
          <a:xfrm>
            <a:off x="3253777" y="1167188"/>
            <a:ext cx="5828281" cy="4523624"/>
          </a:xfrm>
          <a:prstGeom prst="rect">
            <a:avLst/>
          </a:prstGeom>
        </p:spPr>
      </p:pic>
    </p:spTree>
    <p:extLst>
      <p:ext uri="{BB962C8B-B14F-4D97-AF65-F5344CB8AC3E}">
        <p14:creationId xmlns:p14="http://schemas.microsoft.com/office/powerpoint/2010/main" val="4092922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56cuUBSG4rzdMdDpjN9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j7zydY82x7tHsHwH7tf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IRSbUq.FKR4WJX6ybk8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silep0OGXaYhIPxQeqh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1B8xpAKlcfgPOuEK1t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HeUI088Q.31dEyT4UZD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29f62856-1543-49d4-a736-4569d363f533" ContentTypeId="0x0101" PreviousValue="false"/>
</file>

<file path=customXml/item2.xml><?xml version="1.0" encoding="utf-8"?>
<ct:contentTypeSchema xmlns:ct="http://schemas.microsoft.com/office/2006/metadata/contentType" xmlns:ma="http://schemas.microsoft.com/office/2006/metadata/properties/metaAttributes" ct:_="" ma:_="" ma:contentTypeName="Document" ma:contentTypeID="0x01010009D6B48F70B72749A0A1460C06E3709D" ma:contentTypeVersion="29" ma:contentTypeDescription="Create a new document." ma:contentTypeScope="" ma:versionID="1c686e8370d74e8a52cc27adbdae9c1b">
  <xsd:schema xmlns:xsd="http://www.w3.org/2001/XMLSchema" xmlns:xs="http://www.w3.org/2001/XMLSchema" xmlns:p="http://schemas.microsoft.com/office/2006/metadata/properties" xmlns:ns1="http://schemas.microsoft.com/sharepoint/v3" xmlns:ns3="4ffa91fb-a0ff-4ac5-b2db-65c790d184a4" xmlns:ns4="http://schemas.microsoft.com/sharepoint.v3" xmlns:ns5="http://schemas.microsoft.com/sharepoint/v3/fields" xmlns:ns6="2ee24b88-bfa5-46f5-a139-f4fbcf23327d" xmlns:ns7="3e1943a5-17d0-4550-bd08-1d5ec6b772ee" targetNamespace="http://schemas.microsoft.com/office/2006/metadata/properties" ma:root="true" ma:fieldsID="557a020b34f5046d2d695dadb72b397f" ns1:_="" ns3:_="" ns4:_="" ns5:_="" ns6:_="" ns7:_="">
    <xsd:import namespace="http://schemas.microsoft.com/sharepoint/v3"/>
    <xsd:import namespace="4ffa91fb-a0ff-4ac5-b2db-65c790d184a4"/>
    <xsd:import namespace="http://schemas.microsoft.com/sharepoint.v3"/>
    <xsd:import namespace="http://schemas.microsoft.com/sharepoint/v3/fields"/>
    <xsd:import namespace="2ee24b88-bfa5-46f5-a139-f4fbcf23327d"/>
    <xsd:import namespace="3e1943a5-17d0-4550-bd08-1d5ec6b772ee"/>
    <xsd:element name="properties">
      <xsd:complexType>
        <xsd:sequence>
          <xsd:element name="documentManagement">
            <xsd:complexType>
              <xsd:all>
                <xsd:element ref="ns3:Document_x0020_Creation_x0020_Date" minOccurs="0"/>
                <xsd:element ref="ns3:Creator" minOccurs="0"/>
                <xsd:element ref="ns3:EPA_x0020_Office" minOccurs="0"/>
                <xsd:element ref="ns3:Record" minOccurs="0"/>
                <xsd:element ref="ns4:CategoryDescription" minOccurs="0"/>
                <xsd:element ref="ns3:Identifier" minOccurs="0"/>
                <xsd:element ref="ns3:EPA_x0020_Contributor" minOccurs="0"/>
                <xsd:element ref="ns3:External_x0020_Contributor" minOccurs="0"/>
                <xsd:element ref="ns5:_Coverage" minOccurs="0"/>
                <xsd:element ref="ns3:EPA_x0020_Related_x0020_Documents" minOccurs="0"/>
                <xsd:element ref="ns5:_Source" minOccurs="0"/>
                <xsd:element ref="ns3:Rights" minOccurs="0"/>
                <xsd:element ref="ns1:Language" minOccurs="0"/>
                <xsd:element ref="ns3:j747ac98061d40f0aa7bd47e1db5675d" minOccurs="0"/>
                <xsd:element ref="ns3:TaxKeywordTaxHTField" minOccurs="0"/>
                <xsd:element ref="ns3:TaxCatchAllLabel" minOccurs="0"/>
                <xsd:element ref="ns3:TaxCatchAll" minOccurs="0"/>
                <xsd:element ref="ns6:Records_x0020_Status" minOccurs="0"/>
                <xsd:element ref="ns6:Records_x0020_Date" minOccurs="0"/>
                <xsd:element ref="ns7:MediaServiceMetadata" minOccurs="0"/>
                <xsd:element ref="ns7:MediaServiceFastMetadata" minOccurs="0"/>
                <xsd:element ref="ns6:SharedWithUsers" minOccurs="0"/>
                <xsd:element ref="ns6:SharedWithDetails" minOccurs="0"/>
                <xsd:element ref="ns6: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17" nillable="true" ma:displayName="Language" ma:default="English" ma:description="Select the document language from the drop down." ma:format="Dropdown" ma:internalName="Language" ma:readOnly="false">
      <xsd:simpleType>
        <xsd:restriction base="dms:Choice">
          <xsd:enumeration value="Arabic (Saudi Arabia)"/>
          <xsd:enumeration value="Bulgarian (Bulgaria)"/>
          <xsd:enumeration value="Chinese (Hong Kong S.A.R.)"/>
          <xsd:enumeration value="Chinese (People's Republic of China)"/>
          <xsd:enumeration value="Chinese (Taiwan)"/>
          <xsd:enumeration value="Croatian (Croatia)"/>
          <xsd:enumeration value="Czech (Czech Republic)"/>
          <xsd:enumeration value="Danish (Denmark)"/>
          <xsd:enumeration value="Dutch (Netherlands)"/>
          <xsd:enumeration value="English"/>
          <xsd:enumeration value="Estonian (Estonia)"/>
          <xsd:enumeration value="Finnish (Finland)"/>
          <xsd:enumeration value="French (France)"/>
          <xsd:enumeration value="German (Germany)"/>
          <xsd:enumeration value="Greek (Greece)"/>
          <xsd:enumeration value="Hebrew (Israel)"/>
          <xsd:enumeration value="Hindi (India)"/>
          <xsd:enumeration value="Hungarian (Hungary)"/>
          <xsd:enumeration value="Indonesian (Indonesia)"/>
          <xsd:enumeration value="Italian (Italy)"/>
          <xsd:enumeration value="Japanese (Japan)"/>
          <xsd:enumeration value="Korean (Korea)"/>
          <xsd:enumeration value="Latvian (Latvia)"/>
          <xsd:enumeration value="Lithuanian (Lithuania)"/>
          <xsd:enumeration value="Malay (Malaysia)"/>
          <xsd:enumeration value="Norwegian (Bokmal) (Norway)"/>
          <xsd:enumeration value="Polish (Poland)"/>
          <xsd:enumeration value="Portuguese (Brazil)"/>
          <xsd:enumeration value="Portuguese (Portugal)"/>
          <xsd:enumeration value="Romanian (Romania)"/>
          <xsd:enumeration value="Russian (Russia)"/>
          <xsd:enumeration value="Serbian (Latin) (Serbia)"/>
          <xsd:enumeration value="Slovak (Slovakia)"/>
          <xsd:enumeration value="Slovenian (Slovenia)"/>
          <xsd:enumeration value="Spanish (Spain)"/>
          <xsd:enumeration value="Swedish (Sweden)"/>
          <xsd:enumeration value="Thai (Thailand)"/>
          <xsd:enumeration value="Turkish (Turkey)"/>
          <xsd:enumeration value="Ukrainian (Ukraine)"/>
          <xsd:enumeration value="Urdu (Islamic Republic of Pakistan)"/>
          <xsd:enumeration value="Vietnamese (Vietnam)"/>
        </xsd:restriction>
      </xsd:simpleType>
    </xsd:element>
  </xsd:schema>
  <xsd:schema xmlns:xsd="http://www.w3.org/2001/XMLSchema" xmlns:xs="http://www.w3.org/2001/XMLSchema" xmlns:dms="http://schemas.microsoft.com/office/2006/documentManagement/types" xmlns:pc="http://schemas.microsoft.com/office/infopath/2007/PartnerControls" targetNamespace="4ffa91fb-a0ff-4ac5-b2db-65c790d184a4" elementFormDefault="qualified">
    <xsd:import namespace="http://schemas.microsoft.com/office/2006/documentManagement/types"/>
    <xsd:import namespace="http://schemas.microsoft.com/office/infopath/2007/PartnerControls"/>
    <xsd:element name="Document_x0020_Creation_x0020_Date" ma:index="2" nillable="true" ma:displayName="Document Date" ma:default="[today]" ma:description="Enter the date this document was last modified. The upload date has been entered by default." ma:format="DateOnly" ma:internalName="Document_x0020_Creation_x0020_Date" ma:readOnly="false">
      <xsd:simpleType>
        <xsd:restriction base="dms:DateTime"/>
      </xsd:simpleType>
    </xsd:element>
    <xsd:element name="Creator" ma:index="3" nillable="true" ma:displayName="Creator" ma:description="Enter the person primarily responsible for the document. The name of the person uploading the document has been entered by default." ma:list="UserInfo" ma:SharePointGroup="0" ma:internalName="Creat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PA_x0020_Office" ma:index="4" nillable="true" ma:displayName="EPA Office" ma:description="Enter the EPA organization primarily responsible for the document. The office of the person uploading the document has been entered by default." ma:internalName="EPA_x0020_Office">
      <xsd:simpleType>
        <xsd:restriction base="dms:Text">
          <xsd:maxLength value="255"/>
        </xsd:restriction>
      </xsd:simpleType>
    </xsd:element>
    <xsd:element name="Record" ma:index="5" nillable="true" ma:displayName="Record" ma:default="Shared" ma:description="For documents that provide evidence of EPA decisions and actions, select &quot;Shared&quot; (open access) or &quot;Private&quot; (restricted access)." ma:format="Dropdown" ma:internalName="Record">
      <xsd:simpleType>
        <xsd:restriction base="dms:Choice">
          <xsd:enumeration value="None"/>
          <xsd:enumeration value="Shared"/>
          <xsd:enumeration value="Private"/>
        </xsd:restriction>
      </xsd:simpleType>
    </xsd:element>
    <xsd:element name="Identifier" ma:index="9" nillable="true" ma:displayName="Identifier" ma:description="Enter all EPA identification numbers applicable to this document, one on each line." ma:internalName="Identifier" ma:readOnly="false">
      <xsd:simpleType>
        <xsd:restriction base="dms:Note">
          <xsd:maxLength value="255"/>
        </xsd:restriction>
      </xsd:simpleType>
    </xsd:element>
    <xsd:element name="EPA_x0020_Contributor" ma:index="11" nillable="true" ma:displayName="EPA Contributor" ma:description="Enter an EPA person who contributed to the creation of the document but is not the primary author." ma:list="UserInfo" ma:SharePointGroup="0" ma:internalName="EPA_x0020_Contribu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Contributor" ma:index="12" nillable="true" ma:displayName="External Contributor" ma:description="Enter a non-EPA person who contributed to the creation of the document but is not the primary author." ma:internalName="External_x0020_Contributor" ma:readOnly="false">
      <xsd:simpleType>
        <xsd:restriction base="dms:Note">
          <xsd:maxLength value="255"/>
        </xsd:restriction>
      </xsd:simpleType>
    </xsd:element>
    <xsd:element name="EPA_x0020_Related_x0020_Documents" ma:index="14" nillable="true" ma:displayName="Other Related Documents" ma:description="Enter any related document." ma:internalName="EPA_x0020_Related_x0020_Documents">
      <xsd:simpleType>
        <xsd:restriction base="dms:Note">
          <xsd:maxLength value="255"/>
        </xsd:restriction>
      </xsd:simpleType>
    </xsd:element>
    <xsd:element name="Rights" ma:index="16" nillable="true" ma:displayName="Rights" ma:description="Enter information about intellectual property rights held over the document (e.g. copyright, patent, trademark)." ma:internalName="Rights" ma:readOnly="false">
      <xsd:simpleType>
        <xsd:restriction base="dms:Note">
          <xsd:maxLength value="255"/>
        </xsd:restriction>
      </xsd:simpleType>
    </xsd:element>
    <xsd:element name="j747ac98061d40f0aa7bd47e1db5675d" ma:index="19" nillable="true" ma:taxonomy="true" ma:internalName="j747ac98061d40f0aa7bd47e1db5675d" ma:taxonomyFieldName="Document_x0020_Type" ma:displayName="Document Type" ma:readOnly="false" ma:default="" ma:fieldId="{3747ac98-061d-40f0-aa7b-d47e1db5675d}" ma:sspId="29f62856-1543-49d4-a736-4569d363f533" ma:termSetId="e06cd6a9-a175-4da0-81cb-8dba7aa394ab" ma:anchorId="00000000-0000-0000-0000-000000000000" ma:open="false" ma:isKeyword="false">
      <xsd:complexType>
        <xsd:sequence>
          <xsd:element ref="pc:Terms" minOccurs="0" maxOccurs="1"/>
        </xsd:sequence>
      </xsd:complexType>
    </xsd:element>
    <xsd:element name="TaxKeywordTaxHTField" ma:index="21" nillable="true" ma:taxonomy="true" ma:internalName="TaxKeywordTaxHTField" ma:taxonomyFieldName="TaxKeyword" ma:displayName="Enterprise Keywords" ma:readOnly="false" ma:fieldId="{23f27201-bee3-471e-b2e7-b64fd8b7ca38}" ma:taxonomyMulti="true" ma:sspId="29f62856-1543-49d4-a736-4569d363f533" ma:termSetId="00000000-0000-0000-0000-000000000000" ma:anchorId="00000000-0000-0000-0000-000000000000" ma:open="true" ma:isKeyword="true">
      <xsd:complexType>
        <xsd:sequence>
          <xsd:element ref="pc:Terms" minOccurs="0" maxOccurs="1"/>
        </xsd:sequence>
      </xsd:complexType>
    </xsd:element>
    <xsd:element name="TaxCatchAllLabel" ma:index="23" nillable="true" ma:displayName="Taxonomy Catch All Column1" ma:hidden="true" ma:list="{96fa5028-5416-4693-b17e-e5437143c058}" ma:internalName="TaxCatchAllLabel" ma:readOnly="true" ma:showField="CatchAllDataLabel" ma:web="2ee24b88-bfa5-46f5-a139-f4fbcf23327d">
      <xsd:complexType>
        <xsd:complexContent>
          <xsd:extension base="dms:MultiChoiceLookup">
            <xsd:sequence>
              <xsd:element name="Value" type="dms:Lookup" maxOccurs="unbounded" minOccurs="0" nillable="true"/>
            </xsd:sequence>
          </xsd:extension>
        </xsd:complexContent>
      </xsd:complexType>
    </xsd:element>
    <xsd:element name="TaxCatchAll" ma:index="24" nillable="true" ma:displayName="Taxonomy Catch All Column" ma:hidden="true" ma:list="{96fa5028-5416-4693-b17e-e5437143c058}" ma:internalName="TaxCatchAll" ma:showField="CatchAllData" ma:web="2ee24b88-bfa5-46f5-a139-f4fbcf23327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ategoryDescription" ma:index="6" nillable="true" ma:displayName="Description" ma:description="Enter a brief description." ma:internalName="CategoryDescription"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Coverage" ma:index="13" nillable="true" ma:displayName="Coverage" ma:description="Enter the geographic location, jurisdiction, or time period for which the document is relevant." ma:internalName="_Coverage" ma:readOnly="false">
      <xsd:simpleType>
        <xsd:restriction base="dms:Text">
          <xsd:maxLength value="255"/>
        </xsd:restriction>
      </xsd:simpleType>
    </xsd:element>
    <xsd:element name="_Source" ma:index="15" nillable="true" ma:displayName="Source" ma:description="Enter a source from which the document is derived." ma:internalName="_Source"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ee24b88-bfa5-46f5-a139-f4fbcf23327d" elementFormDefault="qualified">
    <xsd:import namespace="http://schemas.microsoft.com/office/2006/documentManagement/types"/>
    <xsd:import namespace="http://schemas.microsoft.com/office/infopath/2007/PartnerControls"/>
    <xsd:element name="Records_x0020_Status" ma:index="28" nillable="true" ma:displayName="Records Status" ma:default="Pending" ma:internalName="Records_x0020_Status">
      <xsd:simpleType>
        <xsd:restriction base="dms:Text"/>
      </xsd:simpleType>
    </xsd:element>
    <xsd:element name="Records_x0020_Date" ma:index="29" nillable="true" ma:displayName="Records Date" ma:hidden="true" ma:internalName="Records_x0020_Date">
      <xsd:simpleType>
        <xsd:restriction base="dms:DateTime"/>
      </xsd:simpleType>
    </xsd:element>
    <xsd:element name="SharedWithUsers" ma:index="3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3" nillable="true" ma:displayName="Shared With Details" ma:internalName="SharedWithDetails" ma:readOnly="true">
      <xsd:simpleType>
        <xsd:restriction base="dms:Note">
          <xsd:maxLength value="255"/>
        </xsd:restriction>
      </xsd:simpleType>
    </xsd:element>
    <xsd:element name="SharingHintHash" ma:index="34"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1943a5-17d0-4550-bd08-1d5ec6b772ee" elementFormDefault="qualified">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5"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Source xmlns="http://schemas.microsoft.com/sharepoint/v3/fields" xsi:nil="true"/>
    <Language xmlns="http://schemas.microsoft.com/sharepoint/v3">English</Language>
    <j747ac98061d40f0aa7bd47e1db5675d xmlns="4ffa91fb-a0ff-4ac5-b2db-65c790d184a4">
      <Terms xmlns="http://schemas.microsoft.com/office/infopath/2007/PartnerControls"/>
    </j747ac98061d40f0aa7bd47e1db5675d>
    <External_x0020_Contributor xmlns="4ffa91fb-a0ff-4ac5-b2db-65c790d184a4" xsi:nil="true"/>
    <TaxKeywordTaxHTField xmlns="4ffa91fb-a0ff-4ac5-b2db-65c790d184a4">
      <Terms xmlns="http://schemas.microsoft.com/office/infopath/2007/PartnerControls"/>
    </TaxKeywordTaxHTField>
    <Record xmlns="4ffa91fb-a0ff-4ac5-b2db-65c790d184a4">Shared</Record>
    <Records_x0020_Status xmlns="2ee24b88-bfa5-46f5-a139-f4fbcf23327d">Pending</Records_x0020_Status>
    <Rights xmlns="4ffa91fb-a0ff-4ac5-b2db-65c790d184a4" xsi:nil="true"/>
    <Document_x0020_Creation_x0020_Date xmlns="4ffa91fb-a0ff-4ac5-b2db-65c790d184a4">2021-04-02T13:28:03+00:00</Document_x0020_Creation_x0020_Date>
    <EPA_x0020_Office xmlns="4ffa91fb-a0ff-4ac5-b2db-65c790d184a4" xsi:nil="true"/>
    <CategoryDescription xmlns="http://schemas.microsoft.com/sharepoint.v3" xsi:nil="true"/>
    <Identifier xmlns="4ffa91fb-a0ff-4ac5-b2db-65c790d184a4" xsi:nil="true"/>
    <_Coverage xmlns="http://schemas.microsoft.com/sharepoint/v3/fields" xsi:nil="true"/>
    <Creator xmlns="4ffa91fb-a0ff-4ac5-b2db-65c790d184a4">
      <UserInfo>
        <DisplayName/>
        <AccountId xsi:nil="true"/>
        <AccountType/>
      </UserInfo>
    </Creator>
    <Records_x0020_Date xmlns="2ee24b88-bfa5-46f5-a139-f4fbcf23327d" xsi:nil="true"/>
    <EPA_x0020_Related_x0020_Documents xmlns="4ffa91fb-a0ff-4ac5-b2db-65c790d184a4" xsi:nil="true"/>
    <EPA_x0020_Contributor xmlns="4ffa91fb-a0ff-4ac5-b2db-65c790d184a4">
      <UserInfo>
        <DisplayName/>
        <AccountId xsi:nil="true"/>
        <AccountType/>
      </UserInfo>
    </EPA_x0020_Contributor>
    <TaxCatchAll xmlns="4ffa91fb-a0ff-4ac5-b2db-65c790d184a4"/>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D8210B-D4BE-4E84-B699-B056C45B518B}">
  <ds:schemaRefs>
    <ds:schemaRef ds:uri="Microsoft.SharePoint.Taxonomy.ContentTypeSync"/>
  </ds:schemaRefs>
</ds:datastoreItem>
</file>

<file path=customXml/itemProps2.xml><?xml version="1.0" encoding="utf-8"?>
<ds:datastoreItem xmlns:ds="http://schemas.openxmlformats.org/officeDocument/2006/customXml" ds:itemID="{D3C291FF-79F0-4C66-AFF3-2992C918B7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ffa91fb-a0ff-4ac5-b2db-65c790d184a4"/>
    <ds:schemaRef ds:uri="http://schemas.microsoft.com/sharepoint.v3"/>
    <ds:schemaRef ds:uri="http://schemas.microsoft.com/sharepoint/v3/fields"/>
    <ds:schemaRef ds:uri="2ee24b88-bfa5-46f5-a139-f4fbcf23327d"/>
    <ds:schemaRef ds:uri="3e1943a5-17d0-4550-bd08-1d5ec6b772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0CA5DE-9F83-44AA-B326-CE88D37783F8}">
  <ds:schemaRefs>
    <ds:schemaRef ds:uri="http://schemas.microsoft.com/office/2006/documentManagement/types"/>
    <ds:schemaRef ds:uri="http://schemas.microsoft.com/office/infopath/2007/PartnerControls"/>
    <ds:schemaRef ds:uri="4ffa91fb-a0ff-4ac5-b2db-65c790d184a4"/>
    <ds:schemaRef ds:uri="http://schemas.openxmlformats.org/package/2006/metadata/core-properties"/>
    <ds:schemaRef ds:uri="http://www.w3.org/XML/1998/namespace"/>
    <ds:schemaRef ds:uri="http://purl.org/dc/elements/1.1/"/>
    <ds:schemaRef ds:uri="http://schemas.microsoft.com/office/2006/metadata/properties"/>
    <ds:schemaRef ds:uri="3e1943a5-17d0-4550-bd08-1d5ec6b772ee"/>
    <ds:schemaRef ds:uri="http://purl.org/dc/dcmitype/"/>
    <ds:schemaRef ds:uri="2ee24b88-bfa5-46f5-a139-f4fbcf23327d"/>
    <ds:schemaRef ds:uri="http://schemas.microsoft.com/sharepoint.v3"/>
    <ds:schemaRef ds:uri="http://schemas.microsoft.com/sharepoint/v3/fields"/>
    <ds:schemaRef ds:uri="http://schemas.microsoft.com/sharepoint/v3"/>
    <ds:schemaRef ds:uri="http://purl.org/dc/terms/"/>
  </ds:schemaRefs>
</ds:datastoreItem>
</file>

<file path=customXml/itemProps4.xml><?xml version="1.0" encoding="utf-8"?>
<ds:datastoreItem xmlns:ds="http://schemas.openxmlformats.org/officeDocument/2006/customXml" ds:itemID="{6DD38E2F-E7ED-4C4C-9635-A014750A4C1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0264</TotalTime>
  <Words>1811</Words>
  <Application>Microsoft Office PowerPoint</Application>
  <PresentationFormat>Widescreen</PresentationFormat>
  <Paragraphs>174</Paragraphs>
  <Slides>28</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7" baseType="lpstr">
      <vt:lpstr>Arial</vt:lpstr>
      <vt:lpstr>Calibri</vt:lpstr>
      <vt:lpstr>Calibri Light</vt:lpstr>
      <vt:lpstr>Franklin Gothic Book</vt:lpstr>
      <vt:lpstr>Sagona ExtraLight</vt:lpstr>
      <vt:lpstr>Symbol</vt:lpstr>
      <vt:lpstr>Times New Roman</vt:lpstr>
      <vt:lpstr>Office Theme</vt:lpstr>
      <vt:lpstr>think-cell Slide</vt:lpstr>
      <vt:lpstr>EPA CLIMATE CHANGE UPDATE</vt:lpstr>
      <vt:lpstr>TOPICS</vt:lpstr>
      <vt:lpstr>IRA Overview</vt:lpstr>
      <vt:lpstr>Breakdown of Climate &amp; Energy Funding</vt:lpstr>
      <vt:lpstr>EPA Programs</vt:lpstr>
      <vt:lpstr>Greenhouse Gas Reduction Fund overview</vt:lpstr>
      <vt:lpstr>EPA’s Implementation Framework for the Greenhouse Gas Reduction Fund – 4/19/2023</vt:lpstr>
      <vt:lpstr>Climate Pollution Reduction Grant (CPRG) Program</vt:lpstr>
      <vt:lpstr>CPRG: Planning Grant Allocations</vt:lpstr>
      <vt:lpstr>METHANE – Supplemental Proposal- Oil and  Natural Gas Sector: 87 FR 74702 (Dec. 6, 2022)</vt:lpstr>
      <vt:lpstr>METHANE RULE: Addresses Interconnected System</vt:lpstr>
      <vt:lpstr>METHANE RULE: Environmental Justice Impacts</vt:lpstr>
      <vt:lpstr>    Methane RULE: BENEFITS</vt:lpstr>
      <vt:lpstr>GHG Motor Vehicle Rules: Light/Medium Duty 88 FR 29184  (May 5, 2023); Heavy Duty 88 FR 25926 (April 27, 2023)</vt:lpstr>
      <vt:lpstr>Projected Industry Fleet Average for Light Duty Vehicles g/mile compared to current MY 2026 standard (est. in 2021)</vt:lpstr>
      <vt:lpstr>Light and Medium-Duty Vehicles: Proposed Rule for MY 2027-2032 (May 5, 2023)</vt:lpstr>
      <vt:lpstr>Heavy-Duty Vehicles: Proposed Rule for MY 2027-2032 (April 27, 2023)</vt:lpstr>
      <vt:lpstr>   POWER SECTOR- Proposed Rule      (not yet published)</vt:lpstr>
      <vt:lpstr>POWER SECTOR: CLEAN AIR ACT Section 111</vt:lpstr>
      <vt:lpstr>POWER SECTOR – STANDARDS</vt:lpstr>
      <vt:lpstr>POWER SECTOR – Benefits/Costs</vt:lpstr>
      <vt:lpstr>ADAPTATION  E.O. 14008 on Tackling the Climate Crisis at Home and Abroad, Section 211 (Jan. 27, 2021)  </vt:lpstr>
      <vt:lpstr>PowerPoint Presentation</vt:lpstr>
      <vt:lpstr>PowerPoint Presentation</vt:lpstr>
      <vt:lpstr>Adaptation Plan – Overview</vt:lpstr>
      <vt:lpstr>What’s New In The Vulnerability Assessment?</vt:lpstr>
      <vt:lpstr>Priority Actions: 6 THEM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MATE CHANGE</dc:title>
  <dc:creator>Siegel, Joseph</dc:creator>
  <cp:lastModifiedBy>Siegel, Joseph (he/him/his)</cp:lastModifiedBy>
  <cp:revision>5</cp:revision>
  <dcterms:created xsi:type="dcterms:W3CDTF">2021-04-05T21:37:38Z</dcterms:created>
  <dcterms:modified xsi:type="dcterms:W3CDTF">2023-05-18T12:41:16Z</dcterms:modified>
</cp:coreProperties>
</file>